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  <p:sldMasterId id="2147483694" r:id="rId4"/>
    <p:sldMasterId id="2147483726" r:id="rId5"/>
    <p:sldMasterId id="2147483720" r:id="rId6"/>
    <p:sldMasterId id="2147483742" r:id="rId7"/>
    <p:sldMasterId id="2147483750" r:id="rId8"/>
    <p:sldMasterId id="2147483774" r:id="rId9"/>
    <p:sldMasterId id="2147483775" r:id="rId10"/>
  </p:sldMasterIdLst>
  <p:notesMasterIdLst>
    <p:notesMasterId r:id="rId24"/>
  </p:notesMasterIdLst>
  <p:handoutMasterIdLst>
    <p:handoutMasterId r:id="rId25"/>
  </p:handoutMasterIdLst>
  <p:sldIdLst>
    <p:sldId id="2147475044" r:id="rId11"/>
    <p:sldId id="2147475047" r:id="rId12"/>
    <p:sldId id="2147475036" r:id="rId13"/>
    <p:sldId id="2147475018" r:id="rId14"/>
    <p:sldId id="2147475028" r:id="rId15"/>
    <p:sldId id="2147475019" r:id="rId16"/>
    <p:sldId id="2147475021" r:id="rId17"/>
    <p:sldId id="2147475048" r:id="rId18"/>
    <p:sldId id="2147475049" r:id="rId19"/>
    <p:sldId id="2147475053" r:id="rId20"/>
    <p:sldId id="2147475031" r:id="rId21"/>
    <p:sldId id="2147475032" r:id="rId22"/>
    <p:sldId id="267" r:id="rId23"/>
  </p:sldIdLst>
  <p:sldSz cx="12192000" cy="6858000"/>
  <p:notesSz cx="6794500" cy="9906000"/>
  <p:custDataLst>
    <p:tags r:id="rId26"/>
  </p:custDataLst>
  <p:defaultTextStyle>
    <a:defPPr lvl="0">
      <a:defRPr lang="de-DE"/>
    </a:defPPr>
    <a:lvl1pPr marL="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457" userDrawn="1">
          <p15:clr>
            <a:srgbClr val="A4A3A4"/>
          </p15:clr>
        </p15:guide>
        <p15:guide id="15" pos="7378" userDrawn="1">
          <p15:clr>
            <a:srgbClr val="A4A3A4"/>
          </p15:clr>
        </p15:guide>
        <p15:guide id="16" pos="4974" userDrawn="1">
          <p15:clr>
            <a:srgbClr val="A4A3A4"/>
          </p15:clr>
        </p15:guide>
        <p15:guide id="17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5F56811-545E-8994-8C28-B32D361BACF5}" name="erik.m.jansen@basf.com" initials="EJ" userId="erik.m.jansen@basf.com" providerId="None"/>
  <p188:author id="{8980231A-B706-23C1-4164-8C00F0F49846}" name="mirko.vianello@basf.com" initials="MV" userId="mirko.vianello@basf.com" providerId="None"/>
  <p188:author id="{E94FA0A0-071F-1B68-A576-E6DD5D4E019A}" name="bhavna.satyanarayan@basf.com" initials="BS" userId="bhavna.satyanarayan@basf.com" providerId="None"/>
  <p188:author id="{804ECDA1-B877-7B96-083D-3D98F8169B37}" name="CASPAR.GROTE@BASF.COM" initials="CG" userId="CASPAR.GROTE@BASF.COM" providerId="None"/>
  <p188:author id="{C363B2F8-00DA-FE75-1FE9-A1CA6EC6754F}" name="nina.kuerschner@basf.com" initials="NK" userId="nina.kuerschner@basf.com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EAEAEA"/>
    <a:srgbClr val="FFFFFF"/>
    <a:srgbClr val="002875"/>
    <a:srgbClr val="19789D"/>
    <a:srgbClr val="006699"/>
    <a:srgbClr val="005AB4"/>
    <a:srgbClr val="0052A4"/>
    <a:srgbClr val="3B6291"/>
    <a:srgbClr val="406B9E"/>
    <a:srgbClr val="EEEE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49" autoAdjust="0"/>
    <p:restoredTop sz="96247" autoAdjust="0"/>
  </p:normalViewPr>
  <p:slideViewPr>
    <p:cSldViewPr snapToGrid="0" showGuides="1">
      <p:cViewPr>
        <p:scale>
          <a:sx n="60" d="100"/>
          <a:sy n="60" d="100"/>
        </p:scale>
        <p:origin x="572" y="-4"/>
      </p:cViewPr>
      <p:guideLst>
        <p:guide pos="2457"/>
        <p:guide pos="7378"/>
        <p:guide pos="4974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>
        <p:scale>
          <a:sx n="90" d="100"/>
          <a:sy n="90" d="100"/>
        </p:scale>
        <p:origin x="1800" y="-14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ags" Target="tags/tag1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handoutMaster" Target="handoutMasters/handoutMaster1.xml"/><Relationship Id="rId33" Type="http://schemas.openxmlformats.org/officeDocument/2006/relationships/customXml" Target="../customXml/item3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1.xml"/><Relationship Id="rId24" Type="http://schemas.openxmlformats.org/officeDocument/2006/relationships/notesMaster" Target="notesMasters/notesMaster1.xml"/><Relationship Id="rId32" Type="http://schemas.microsoft.com/office/2018/10/relationships/authors" Target="author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8.xml"/><Relationship Id="rId19" Type="http://schemas.openxmlformats.org/officeDocument/2006/relationships/slide" Target="slides/slide9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Master" Target="slideMasters/slideMaster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smine Hanh Phan" userId="c0e9c512-c016-4b9b-a69d-c0de26ad53e6" providerId="ADAL" clId="{5AB54003-DEDB-4ACA-B875-2F54F658C0ED}"/>
    <pc:docChg chg="undo custSel modSld">
      <pc:chgData name="Jasmine Hanh Phan" userId="c0e9c512-c016-4b9b-a69d-c0de26ad53e6" providerId="ADAL" clId="{5AB54003-DEDB-4ACA-B875-2F54F658C0ED}" dt="2025-04-14T11:14:32.595" v="501" actId="20577"/>
      <pc:docMkLst>
        <pc:docMk/>
      </pc:docMkLst>
      <pc:sldChg chg="modSp mod modCm">
        <pc:chgData name="Jasmine Hanh Phan" userId="c0e9c512-c016-4b9b-a69d-c0de26ad53e6" providerId="ADAL" clId="{5AB54003-DEDB-4ACA-B875-2F54F658C0ED}" dt="2025-04-14T09:14:53.558" v="499" actId="13926"/>
        <pc:sldMkLst>
          <pc:docMk/>
          <pc:sldMk cId="3458768699" sldId="2147475021"/>
        </pc:sldMkLst>
        <pc:spChg chg="mod">
          <ac:chgData name="Jasmine Hanh Phan" userId="c0e9c512-c016-4b9b-a69d-c0de26ad53e6" providerId="ADAL" clId="{5AB54003-DEDB-4ACA-B875-2F54F658C0ED}" dt="2025-04-14T09:14:53.558" v="499" actId="13926"/>
          <ac:spMkLst>
            <pc:docMk/>
            <pc:sldMk cId="3458768699" sldId="2147475021"/>
            <ac:spMk id="3" creationId="{EE6292CB-B7E1-8AB9-BFB1-8F20CD37E53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smine Hanh Phan" userId="c0e9c512-c016-4b9b-a69d-c0de26ad53e6" providerId="ADAL" clId="{5AB54003-DEDB-4ACA-B875-2F54F658C0ED}" dt="2025-04-14T09:14:48.233" v="498"/>
              <pc2:cmMkLst xmlns:pc2="http://schemas.microsoft.com/office/powerpoint/2019/9/main/command">
                <pc:docMk/>
                <pc:sldMk cId="3458768699" sldId="2147475021"/>
                <pc2:cmMk id="{4A870F27-38A1-406B-9722-F87A699BC80B}"/>
              </pc2:cmMkLst>
            </pc226:cmChg>
            <pc226:cmChg xmlns:pc226="http://schemas.microsoft.com/office/powerpoint/2022/06/main/command" chg="mod">
              <pc226:chgData name="Jasmine Hanh Phan" userId="c0e9c512-c016-4b9b-a69d-c0de26ad53e6" providerId="ADAL" clId="{5AB54003-DEDB-4ACA-B875-2F54F658C0ED}" dt="2025-04-14T09:14:48.233" v="498"/>
              <pc2:cmMkLst xmlns:pc2="http://schemas.microsoft.com/office/powerpoint/2019/9/main/command">
                <pc:docMk/>
                <pc:sldMk cId="3458768699" sldId="2147475021"/>
                <pc2:cmMk id="{BF86F79D-ED6F-49E3-B4AA-34E7EB4AA8F5}"/>
              </pc2:cmMkLst>
            </pc226:cmChg>
          </p:ext>
        </pc:extLst>
      </pc:sldChg>
      <pc:sldChg chg="modSp mod">
        <pc:chgData name="Jasmine Hanh Phan" userId="c0e9c512-c016-4b9b-a69d-c0de26ad53e6" providerId="ADAL" clId="{5AB54003-DEDB-4ACA-B875-2F54F658C0ED}" dt="2025-04-14T11:14:32.595" v="501" actId="20577"/>
        <pc:sldMkLst>
          <pc:docMk/>
          <pc:sldMk cId="3905092062" sldId="2147475044"/>
        </pc:sldMkLst>
        <pc:spChg chg="mod">
          <ac:chgData name="Jasmine Hanh Phan" userId="c0e9c512-c016-4b9b-a69d-c0de26ad53e6" providerId="ADAL" clId="{5AB54003-DEDB-4ACA-B875-2F54F658C0ED}" dt="2025-04-14T11:14:32.595" v="501" actId="20577"/>
          <ac:spMkLst>
            <pc:docMk/>
            <pc:sldMk cId="3905092062" sldId="2147475044"/>
            <ac:spMk id="16" creationId="{D050636A-26B3-F65D-6E53-1E6D651A04EB}"/>
          </ac:spMkLst>
        </pc:spChg>
      </pc:sldChg>
      <pc:sldChg chg="modSp mod">
        <pc:chgData name="Jasmine Hanh Phan" userId="c0e9c512-c016-4b9b-a69d-c0de26ad53e6" providerId="ADAL" clId="{5AB54003-DEDB-4ACA-B875-2F54F658C0ED}" dt="2025-04-14T08:32:15.092" v="423" actId="20577"/>
        <pc:sldMkLst>
          <pc:docMk/>
          <pc:sldMk cId="1078676182" sldId="2147475053"/>
        </pc:sldMkLst>
        <pc:spChg chg="mod">
          <ac:chgData name="Jasmine Hanh Phan" userId="c0e9c512-c016-4b9b-a69d-c0de26ad53e6" providerId="ADAL" clId="{5AB54003-DEDB-4ACA-B875-2F54F658C0ED}" dt="2025-04-14T08:32:15.092" v="423" actId="20577"/>
          <ac:spMkLst>
            <pc:docMk/>
            <pc:sldMk cId="1078676182" sldId="2147475053"/>
            <ac:spMk id="10" creationId="{E2321357-6E35-3374-7FD3-2C2E598294F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AC6C8EF-CB49-4275-A13C-7D23B20735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1B4A547-0428-4174-91C1-87DB18F6E73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843078-645D-4158-A787-42F60CFF6D2A}" type="datetimeFigureOut">
              <a:rPr lang="de-DE" smtClean="0"/>
              <a:t>14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FA28B1-58A3-494A-988B-FE2E422DB4B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FFFF7B2-3409-4144-B289-9DD989617FA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7C3DBE-79DB-4D91-9218-7EE4FE4973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49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486D6B-7251-4AFE-851B-67A0DE1DAFFC}" type="datetimeFigureOut">
              <a:rPr lang="de-DE" smtClean="0"/>
              <a:t>14.04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4F46E9-7904-4FD8-82D0-66E6EAD9EF8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31743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0" userDrawn="1">
          <p15:clr>
            <a:srgbClr val="F26B43"/>
          </p15:clr>
        </p15:guide>
        <p15:guide id="2" pos="214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166315-12E6-0410-D7CE-701CDFD361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3CC1120-F198-D9B6-3C61-8C828724E4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4B6F8FE-1361-2CA8-4201-4AF28B9F9F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0923F9-B2C3-3498-4F71-F99A406AD9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4F46E9-7904-4FD8-82D0-66E6EAD9EF8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91378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4F46E9-7904-4FD8-82D0-66E6EAD9EF88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65380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F46E9-7904-4FD8-82D0-66E6EAD9EF88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62147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F46E9-7904-4FD8-82D0-66E6EAD9EF88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4440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72093B-CBC1-DC9F-23EC-B3A9FCEDE8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F3E311B-16AE-2BA7-07DD-68764C4128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50B5524-2C2D-65D3-6D46-3A2F9843C0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616948-FA37-640A-E35C-96EC10DF0A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4F46E9-7904-4FD8-82D0-66E6EAD9EF88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4290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F46E9-7904-4FD8-82D0-66E6EAD9EF88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36470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F46E9-7904-4FD8-82D0-66E6EAD9EF88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59525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F46E9-7904-4FD8-82D0-66E6EAD9EF88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0054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F46E9-7904-4FD8-82D0-66E6EAD9EF88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48450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9B028-414C-A965-07A1-47C4D8E757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72F49B4-640A-0CC6-C19F-51D01AC737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8E003A7-7F6E-196A-533E-0B3BDAFA2B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10FCB8C-D5BC-DE72-191F-214342052D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4F46E9-7904-4FD8-82D0-66E6EAD9EF88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64133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DB1BA4-9FFA-54BE-B3AD-0ACA6F674B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34406CA-66A5-0BC2-F351-48A6BF079A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3222781-7239-1188-6306-D2CAE38C7B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3E9E91A-1099-3CA3-96A0-266D194B05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F46E9-7904-4FD8-82D0-66E6EAD9EF88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34695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03B4DC-9A18-9F34-F784-D52E7AB989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DE55F0E-311E-0A3B-31D9-7C06C60F8C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FE8523A-36E2-1126-8339-1E34854C14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E53F7A-FCCC-CF54-D6B1-FA3076D047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F46E9-7904-4FD8-82D0-66E6EAD9EF88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559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3968A1E-5774-4FBF-B33D-33246827FA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CA0E4-039D-4CA1-9EC6-1EF5CF382631}" type="datetime1">
              <a:rPr lang="de-DE" smtClean="0"/>
              <a:t>14.04.2025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814E2C-65A8-4B4C-A488-296B14440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Optiona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58CEEC-917F-4652-8701-CCABB57CF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74843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309A997-FC8F-4587-9A39-D2D407ABCAC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8420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7697B31E-9F92-4714-B6B2-0861277CDDF0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4632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3610B95-4970-4BE4-AD77-82787396E722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567531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09B421A-7EC4-4A50-B687-C67573D57B10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07892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5FE064D1-EB06-47DC-B7AE-8ED007D22D04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54763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344" y="431800"/>
            <a:ext cx="11753977" cy="54403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0BB34294-D2CE-4D6D-8E24-6F1DC99E93B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161753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9D398AE-938C-43AA-9553-FFC3D81244D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79908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08763D0B-AFDE-44D9-95F3-B6325F0A45EF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5586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8407A3D7-5EA7-4CB6-9EBE-3554B0F028F0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33414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4" y="1965579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98D0137C-61EB-4277-913B-3D1D6DD1BDB2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8195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6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717D0666-8BEB-4433-BF34-9E7B6F514017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929552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8048BD1-3997-4CD1-99D7-F8270CA9B77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31138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5595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419CED7-F033-4123-950B-A2BA206B6287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90609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343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472F1334-BAD6-4596-9915-06E73A025F8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128538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06D8D84-BA1C-44DA-8171-5E541558048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27694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4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6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344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5596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359D926-B4D8-4C8F-98E5-8B159EF2433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0894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3453E79-986F-462A-B99C-D9E81384A7FF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76533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7DDC7F9-56F0-4E94-842B-5FB9067B1505}"/>
              </a:ext>
            </a:extLst>
          </p:cNvPr>
          <p:cNvGrpSpPr/>
          <p:nvPr/>
        </p:nvGrpSpPr>
        <p:grpSpPr>
          <a:xfrm>
            <a:off x="2120" y="0"/>
            <a:ext cx="12187766" cy="6858000"/>
            <a:chOff x="2119" y="0"/>
            <a:chExt cx="12186180" cy="6858000"/>
          </a:xfrm>
        </p:grpSpPr>
        <p:pic>
          <p:nvPicPr>
            <p:cNvPr id="3" name="Picture 5" descr="C:\Documents and Settings\ROESSO\My Documents\Ablage\Corporate Design\PowerPoint\Logos Wizard\BASFc_Q_PPT_38_blau-dunkel.tif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9439"/>
            <a:stretch>
              <a:fillRect/>
            </a:stretch>
          </p:blipFill>
          <p:spPr bwMode="auto">
            <a:xfrm>
              <a:off x="2119" y="0"/>
              <a:ext cx="1218618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126545A0-B1A6-4A69-9FD9-A3022FFC0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37439" y="2317598"/>
              <a:ext cx="6183516" cy="22342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512063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29" y="1944000"/>
            <a:ext cx="1175388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2986E28B-A3C4-4384-96BA-241A21C6ECFF}" type="datetime1">
              <a:rPr lang="en-US" smtClean="0"/>
              <a:t>4/14/2025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00008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A75A2BB1-17DF-492E-9828-59D961DC5BF5}" type="datetime1">
              <a:rPr lang="en-US" smtClean="0"/>
              <a:t>4/14/2025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14320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6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09">
              <a:spcBef>
                <a:spcPts val="110"/>
              </a:spcBef>
              <a:spcAft>
                <a:spcPts val="110"/>
              </a:spcAft>
              <a:defRPr/>
            </a:pPr>
            <a:r>
              <a:rPr lang="de-DE"/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defTabSz="914309">
              <a:spcBef>
                <a:spcPts val="110"/>
              </a:spcBef>
              <a:spcAft>
                <a:spcPts val="110"/>
              </a:spcAft>
              <a:defRPr/>
            </a:pPr>
            <a:fld id="{C0E33138-ACF4-4AA0-BCDB-3A9F2443B8D9}" type="datetime1">
              <a:rPr lang="de-DE" smtClean="0">
                <a:solidFill>
                  <a:srgbClr val="000000"/>
                </a:solidFill>
              </a:rPr>
              <a:pPr defTabSz="914309">
                <a:spcBef>
                  <a:spcPts val="110"/>
                </a:spcBef>
                <a:spcAft>
                  <a:spcPts val="110"/>
                </a:spcAft>
                <a:defRPr/>
              </a:pPr>
              <a:t>14.04.2025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09">
              <a:spcBef>
                <a:spcPts val="110"/>
              </a:spcBef>
              <a:spcAft>
                <a:spcPts val="110"/>
              </a:spcAft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 defTabSz="914309">
                <a:spcBef>
                  <a:spcPts val="110"/>
                </a:spcBef>
                <a:spcAft>
                  <a:spcPts val="110"/>
                </a:spcAft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10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63517FF1-3B43-4446-A836-27B643D3AC7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12225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3968A1E-5774-4FBF-B33D-33246827FA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10B03-D230-4701-9F37-B6F131066B93}" type="datetime1">
              <a:rPr lang="de-DE" smtClean="0"/>
              <a:t>14.04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814E2C-65A8-4B4C-A488-296B14440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Optiona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58CEEC-917F-4652-8701-CCABB57CF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83563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F8FEEF0-7EAC-424F-8BDF-62D59EECC53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52924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6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717D0666-8BEB-4433-BF34-9E7B6F514017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62379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63517FF1-3B43-4446-A836-27B643D3AC7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855075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8D16966-57A0-4082-BF57-DC41B8F4B10F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35749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446626B6-54AB-448C-969E-AD4046DFE99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64234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44549B4B-CC63-47D9-830B-14C1F2210C33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288285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D5929DE-9F33-43B9-B1CE-D5916DF4756E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73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AF9E924-58B3-4CB6-A301-B4A0445C4A6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046460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33F0D6B-07C7-494E-AF7E-BA16B1098A7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26407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8D16966-57A0-4082-BF57-DC41B8F4B10F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04188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309A997-FC8F-4587-9A39-D2D407ABCAC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57007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7697B31E-9F92-4714-B6B2-0861277CDDF0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23111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3610B95-4970-4BE4-AD77-82787396E722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6797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09B421A-7EC4-4A50-B687-C67573D57B10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8483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5FE064D1-EB06-47DC-B7AE-8ED007D22D04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15065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344" y="431800"/>
            <a:ext cx="11753977" cy="54403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0BB34294-D2CE-4D6D-8E24-6F1DC99E93B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49701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9D398AE-938C-43AA-9553-FFC3D81244D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5220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08763D0B-AFDE-44D9-95F3-B6325F0A45EF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044413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8407A3D7-5EA7-4CB6-9EBE-3554B0F028F0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42723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4" y="1965579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98D0137C-61EB-4277-913B-3D1D6DD1BDB2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01756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446626B6-54AB-448C-969E-AD4046DFE99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05044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8048BD1-3997-4CD1-99D7-F8270CA9B77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432455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5595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419CED7-F033-4123-950B-A2BA206B6287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01798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343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472F1334-BAD6-4596-9915-06E73A025F8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77904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06D8D84-BA1C-44DA-8171-5E541558048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83034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4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6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344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5596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359D926-B4D8-4C8F-98E5-8B159EF2433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65886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3453E79-986F-462A-B99C-D9E81384A7FF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993867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63517FF1-3B43-4446-A836-27B643D3AC7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0498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44549B4B-CC63-47D9-830B-14C1F2210C33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27429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D5929DE-9F33-43B9-B1CE-D5916DF4756E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36369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AF9E924-58B3-4CB6-A301-B4A0445C4A6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39944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33F0D6B-07C7-494E-AF7E-BA16B1098A7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78297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30.xml"/><Relationship Id="rId9" Type="http://schemas.openxmlformats.org/officeDocument/2006/relationships/oleObject" Target="../embeddings/oleObject2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heme" Target="../theme/theme7.x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BCAB22E-F746-4DB9-9455-4119EA705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A91997F-08B9-4B82-AE4F-62BE1B28A6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42000" lvl="0" indent="-342000" algn="l" defTabSz="914400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</a:pPr>
            <a:r>
              <a:rPr lang="de-DE" dirty="0"/>
              <a:t>Mastertextformat bearbeiten</a:t>
            </a:r>
          </a:p>
          <a:p>
            <a:pPr marL="622800" lvl="1" indent="-26640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</a:pPr>
            <a:r>
              <a:rPr lang="de-DE" dirty="0"/>
              <a:t>Zweite Ebene</a:t>
            </a:r>
          </a:p>
          <a:p>
            <a:pPr marL="900000" lvl="2" indent="-2772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</a:pPr>
            <a:r>
              <a:rPr lang="de-DE" dirty="0"/>
              <a:t>Dritte Ebene</a:t>
            </a:r>
          </a:p>
          <a:p>
            <a:pPr marL="1166400" lvl="3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de-DE" dirty="0"/>
              <a:t>Vierte Ebene</a:t>
            </a:r>
          </a:p>
          <a:p>
            <a:pPr marL="1623600" lvl="4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de-DE" dirty="0"/>
              <a:t>Fünfte Ebene</a:t>
            </a:r>
          </a:p>
          <a:p>
            <a:pPr marL="2080800" lvl="5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de-DE" dirty="0"/>
              <a:t>Sechste Ebene</a:t>
            </a:r>
          </a:p>
          <a:p>
            <a:pPr marL="2538000" lvl="6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de-DE" dirty="0"/>
              <a:t>Siebte Ebene</a:t>
            </a:r>
          </a:p>
          <a:p>
            <a:pPr marL="2995200" lvl="7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de-DE" dirty="0"/>
              <a:t>Achte Ebene</a:t>
            </a:r>
          </a:p>
          <a:p>
            <a:pPr marL="3452400" lvl="8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de-DE" dirty="0"/>
              <a:t>Neunte Ebene</a:t>
            </a:r>
          </a:p>
        </p:txBody>
      </p:sp>
      <p:sp>
        <p:nvSpPr>
          <p:cNvPr id="4" name="Datumsplatzhalter 5">
            <a:extLst>
              <a:ext uri="{FF2B5EF4-FFF2-40B4-BE49-F238E27FC236}">
                <a16:creationId xmlns:a16="http://schemas.microsoft.com/office/drawing/2014/main" id="{44D2B04B-1A28-4740-887F-6AE17A61FB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EC39CF5-3CA7-45C5-A0BF-1FF80CE9A071}" type="datetime1">
              <a:rPr lang="de-DE" smtClean="0"/>
              <a:t>14.04.2025</a:t>
            </a:fld>
            <a:endParaRPr lang="de-DE" dirty="0"/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367FD070-A64E-48E3-982E-4565503869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Optional</a:t>
            </a:r>
            <a:endParaRPr lang="de-DE" dirty="0"/>
          </a:p>
        </p:txBody>
      </p:sp>
      <p:sp>
        <p:nvSpPr>
          <p:cNvPr id="6" name="Foliennummernplatzhalter 7">
            <a:extLst>
              <a:ext uri="{FF2B5EF4-FFF2-40B4-BE49-F238E27FC236}">
                <a16:creationId xmlns:a16="http://schemas.microsoft.com/office/drawing/2014/main" id="{08AB417C-C855-4F55-B8B7-4214CFB7A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MSIPCMContentMarking" descr="{&quot;HashCode&quot;:2082987499,&quot;Placement&quot;:&quot;Footer&quot;,&quot;Top&quot;:520.3781,&quot;Left&quot;:452.558044,&quot;SlideWidth&quot;:960,&quot;SlideHeight&quot;:540}">
            <a:extLst>
              <a:ext uri="{FF2B5EF4-FFF2-40B4-BE49-F238E27FC236}">
                <a16:creationId xmlns:a16="http://schemas.microsoft.com/office/drawing/2014/main" id="{498D5702-229B-858F-D663-57EEFC62733A}"/>
              </a:ext>
            </a:extLst>
          </p:cNvPr>
          <p:cNvSpPr txBox="1"/>
          <p:nvPr userDrawn="1"/>
        </p:nvSpPr>
        <p:spPr>
          <a:xfrm>
            <a:off x="5747487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171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800" indent="-266400" algn="l" defTabSz="914400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0000" indent="-2772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4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6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800" indent="-2664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2000" b="0" i="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8000" indent="-2664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2000" b="0" i="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5200" indent="-2664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2000" b="0" i="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400" indent="-2664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136">
          <p15:clr>
            <a:srgbClr val="F26B43"/>
          </p15:clr>
        </p15:guide>
        <p15:guide id="4" pos="7544">
          <p15:clr>
            <a:srgbClr val="F26B43"/>
          </p15:clr>
        </p15:guide>
        <p15:guide id="5" orient="horz" pos="136">
          <p15:clr>
            <a:srgbClr val="F26B43"/>
          </p15:clr>
        </p15:guide>
        <p15:guide id="6" orient="horz" pos="41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8000" y="6516000"/>
            <a:ext cx="7920000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600" y="6516000"/>
            <a:ext cx="468000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5437B11C-B73D-406C-83BA-977E2D77264B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800" y="6516000"/>
            <a:ext cx="360000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400" y="1965600"/>
            <a:ext cx="1175400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  <a:p>
            <a:pPr lvl="8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8" name="MSIPCMContentMarking" descr="{&quot;HashCode&quot;:2082987499,&quot;Placement&quot;:&quot;Footer&quot;,&quot;Top&quot;:520.3781,&quot;Left&quot;:452.558044,&quot;SlideWidth&quot;:960,&quot;SlideHeight&quot;:540}">
            <a:extLst>
              <a:ext uri="{FF2B5EF4-FFF2-40B4-BE49-F238E27FC236}">
                <a16:creationId xmlns:a16="http://schemas.microsoft.com/office/drawing/2014/main" id="{39B9D83A-41DB-F5DB-0F67-A66B8E519975}"/>
              </a:ext>
            </a:extLst>
          </p:cNvPr>
          <p:cNvSpPr txBox="1"/>
          <p:nvPr userDrawn="1"/>
        </p:nvSpPr>
        <p:spPr>
          <a:xfrm>
            <a:off x="4603897" y="6527108"/>
            <a:ext cx="2063899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For</a:t>
            </a:r>
            <a:r>
              <a:rPr lang="de-DE" sz="1000" dirty="0">
                <a:solidFill>
                  <a:srgbClr val="000000"/>
                </a:solidFill>
                <a:latin typeface="Arial" panose="020B0604020202020204" pitchFamily="34" charset="0"/>
              </a:rPr>
              <a:t> internal </a:t>
            </a:r>
            <a:r>
              <a:rPr lang="de-DE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use</a:t>
            </a:r>
            <a:r>
              <a:rPr lang="de-DE" sz="1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only</a:t>
            </a:r>
            <a:r>
              <a:rPr lang="de-DE" sz="100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09940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7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39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800" indent="-266400" algn="l" defTabSz="914400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0000" indent="-2772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4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6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8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80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52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4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8000" y="6516000"/>
            <a:ext cx="7920000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600" y="6516000"/>
            <a:ext cx="468000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9B48C558-A7F3-422C-9EF9-874B10D3B44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800" y="6516000"/>
            <a:ext cx="360000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400" y="1965600"/>
            <a:ext cx="1175400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  <a:p>
            <a:pPr lvl="8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7" name="Gruppieren 6" hidden="1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597600" y="6091200"/>
            <a:chExt cx="2592000" cy="540000"/>
          </a:xfrm>
        </p:grpSpPr>
        <p:sp>
          <p:nvSpPr>
            <p:cNvPr id="10" name="Rechteck 9" hidden="1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 hidden="1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8" name="MSIPCMContentMarking" descr="{&quot;HashCode&quot;:2082987499,&quot;Placement&quot;:&quot;Footer&quot;,&quot;Top&quot;:520.3781,&quot;Left&quot;:452.558044,&quot;SlideWidth&quot;:960,&quot;SlideHeight&quot;:540}">
            <a:extLst>
              <a:ext uri="{FF2B5EF4-FFF2-40B4-BE49-F238E27FC236}">
                <a16:creationId xmlns:a16="http://schemas.microsoft.com/office/drawing/2014/main" id="{39B9D83A-41DB-F5DB-0F67-A66B8E519975}"/>
              </a:ext>
            </a:extLst>
          </p:cNvPr>
          <p:cNvSpPr txBox="1"/>
          <p:nvPr userDrawn="1"/>
        </p:nvSpPr>
        <p:spPr>
          <a:xfrm>
            <a:off x="5747487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46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800" indent="-266400" algn="l" defTabSz="914400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0000" indent="-2772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4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6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8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80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52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4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444731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SIPCMContentMarking" descr="{&quot;HashCode&quot;:2082987499,&quot;Placement&quot;:&quot;Footer&quot;,&quot;Top&quot;:520.3781,&quot;Left&quot;:452.558044,&quot;SlideWidth&quot;:960,&quot;SlideHeight&quot;:540}">
            <a:extLst>
              <a:ext uri="{FF2B5EF4-FFF2-40B4-BE49-F238E27FC236}">
                <a16:creationId xmlns:a16="http://schemas.microsoft.com/office/drawing/2014/main" id="{1C84E1E9-BE09-61B8-3708-C8101A748DCC}"/>
              </a:ext>
            </a:extLst>
          </p:cNvPr>
          <p:cNvSpPr txBox="1"/>
          <p:nvPr userDrawn="1"/>
        </p:nvSpPr>
        <p:spPr>
          <a:xfrm>
            <a:off x="5747487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258091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186589C-A07D-45B4-8FD5-3607CCB53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29078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27" imgH="327" progId="TCLayout.ActiveDocument.1">
                  <p:embed/>
                </p:oleObj>
              </mc:Choice>
              <mc:Fallback>
                <p:oleObj name="think-cell Folie" r:id="rId9" imgW="327" imgH="32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186589C-A07D-45B4-8FD5-3607CCB53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98A022C-90D0-4432-8662-DD52CB6C32A3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C23ECE9-55E2-40A2-8220-7CBDA2F08879}"/>
              </a:ext>
            </a:extLst>
          </p:cNvPr>
          <p:cNvGrpSpPr/>
          <p:nvPr userDrawn="1"/>
        </p:nvGrpSpPr>
        <p:grpSpPr>
          <a:xfrm>
            <a:off x="9602450" y="6091200"/>
            <a:ext cx="2592337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0549B5D-8294-4CE9-B067-68D73996D56D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1B13DAA-BE29-4AFF-BED6-1A2BB0EEFF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10" y="6229375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2FC0CEA7-6F27-47B4-845C-4324E3B9E575}" type="datetime1">
              <a:rPr lang="en-US" smtClean="0"/>
              <a:t>4/14/2025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29" y="1944000"/>
            <a:ext cx="1175388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4" name="MSIPCMContentMarking" descr="{&quot;HashCode&quot;:-1038031055,&quot;Placement&quot;:&quot;Footer&quot;,&quot;Top&quot;:520.3781,&quot;Left&quot;:452.558044,&quot;SlideWidth&quot;:960,&quot;SlideHeight&quot;:540}">
            <a:extLst>
              <a:ext uri="{FF2B5EF4-FFF2-40B4-BE49-F238E27FC236}">
                <a16:creationId xmlns:a16="http://schemas.microsoft.com/office/drawing/2014/main" id="{32B885C0-C62D-7C0A-A3BD-88A4BFCDECB8}"/>
              </a:ext>
            </a:extLst>
          </p:cNvPr>
          <p:cNvSpPr txBox="1"/>
          <p:nvPr userDrawn="1"/>
        </p:nvSpPr>
        <p:spPr>
          <a:xfrm>
            <a:off x="5747487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0364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</p:sldLayoutIdLst>
  <p:hf hdr="0" ftr="0" dt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550" marR="0" indent="-360363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913" marR="0" indent="-36036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>
          <p15:clr>
            <a:srgbClr val="F26B43"/>
          </p15:clr>
        </p15:guide>
        <p15:guide id="2" orient="horz" pos="4047">
          <p15:clr>
            <a:srgbClr val="F26B43"/>
          </p15:clr>
        </p15:guide>
        <p15:guide id="5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orient="horz" pos="383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8000" y="6516000"/>
            <a:ext cx="7920000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600" y="6516000"/>
            <a:ext cx="468000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5437B11C-B73D-406C-83BA-977E2D77264B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800" y="6516000"/>
            <a:ext cx="360000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400" y="1965600"/>
            <a:ext cx="1175400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  <a:p>
            <a:pPr lvl="8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8" name="MSIPCMContentMarking" descr="{&quot;HashCode&quot;:2082987499,&quot;Placement&quot;:&quot;Footer&quot;,&quot;Top&quot;:520.3781,&quot;Left&quot;:452.558044,&quot;SlideWidth&quot;:960,&quot;SlideHeight&quot;:540}">
            <a:extLst>
              <a:ext uri="{FF2B5EF4-FFF2-40B4-BE49-F238E27FC236}">
                <a16:creationId xmlns:a16="http://schemas.microsoft.com/office/drawing/2014/main" id="{39B9D83A-41DB-F5DB-0F67-A66B8E519975}"/>
              </a:ext>
            </a:extLst>
          </p:cNvPr>
          <p:cNvSpPr txBox="1"/>
          <p:nvPr userDrawn="1"/>
        </p:nvSpPr>
        <p:spPr>
          <a:xfrm>
            <a:off x="4603897" y="6527108"/>
            <a:ext cx="2063899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  <a:r>
              <a:rPr lang="de-DE" sz="1000" dirty="0">
                <a:solidFill>
                  <a:srgbClr val="000000"/>
                </a:solidFill>
                <a:latin typeface="Arial" panose="020B0604020202020204" pitchFamily="34" charset="0"/>
              </a:rPr>
              <a:t> - </a:t>
            </a:r>
            <a:r>
              <a:rPr lang="de-DE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For</a:t>
            </a:r>
            <a:r>
              <a:rPr lang="de-DE" sz="1000" dirty="0">
                <a:solidFill>
                  <a:srgbClr val="000000"/>
                </a:solidFill>
                <a:latin typeface="Arial" panose="020B0604020202020204" pitchFamily="34" charset="0"/>
              </a:rPr>
              <a:t> internal </a:t>
            </a:r>
            <a:r>
              <a:rPr lang="de-DE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use</a:t>
            </a:r>
            <a:r>
              <a:rPr lang="de-DE" sz="1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only</a:t>
            </a:r>
            <a:r>
              <a:rPr lang="de-DE" sz="1000" dirty="0">
                <a:solidFill>
                  <a:srgbClr val="000000"/>
                </a:solidFill>
                <a:latin typeface="Arial" panose="020B060402020202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856661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800" indent="-266400" algn="l" defTabSz="914400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0000" indent="-2772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4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6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8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80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52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4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186589C-A07D-45B4-8FD5-3607CCB53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9078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186589C-A07D-45B4-8FD5-3607CCB53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98A022C-90D0-4432-8662-DD52CB6C32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 hidden="1">
            <a:extLst>
              <a:ext uri="{FF2B5EF4-FFF2-40B4-BE49-F238E27FC236}">
                <a16:creationId xmlns:a16="http://schemas.microsoft.com/office/drawing/2014/main" id="{4C23ECE9-55E2-40A2-8220-7CBDA2F08879}"/>
              </a:ext>
            </a:extLst>
          </p:cNvPr>
          <p:cNvGrpSpPr/>
          <p:nvPr userDrawn="1"/>
        </p:nvGrpSpPr>
        <p:grpSpPr>
          <a:xfrm>
            <a:off x="9602450" y="6091200"/>
            <a:ext cx="2592337" cy="540000"/>
            <a:chOff x="9597610" y="6092575"/>
            <a:chExt cx="2592000" cy="540000"/>
          </a:xfrm>
        </p:grpSpPr>
        <p:sp>
          <p:nvSpPr>
            <p:cNvPr id="10" name="Rechteck 9" hidden="1">
              <a:extLst>
                <a:ext uri="{FF2B5EF4-FFF2-40B4-BE49-F238E27FC236}">
                  <a16:creationId xmlns:a16="http://schemas.microsoft.com/office/drawing/2014/main" id="{C0549B5D-8294-4CE9-B067-68D73996D56D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1" name="Grafik 10" hidden="1">
              <a:extLst>
                <a:ext uri="{FF2B5EF4-FFF2-40B4-BE49-F238E27FC236}">
                  <a16:creationId xmlns:a16="http://schemas.microsoft.com/office/drawing/2014/main" id="{71B13DAA-BE29-4AFF-BED6-1A2BB0EEFF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10" y="6229375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2FC0CEA7-6F27-47B4-845C-4324E3B9E575}" type="datetime1">
              <a:rPr lang="en-US" smtClean="0"/>
              <a:t>4/14/2025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additional informatio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29" y="1944000"/>
            <a:ext cx="1175388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2B885C0-C62D-7C0A-A3BD-88A4BFCDECB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5625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0446010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550" marR="0" indent="-360363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913" marR="0" indent="-36036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>
          <p15:clr>
            <a:srgbClr val="F26B43"/>
          </p15:clr>
        </p15:guide>
        <p15:guide id="2" orient="horz" pos="4047">
          <p15:clr>
            <a:srgbClr val="F26B43"/>
          </p15:clr>
        </p15:guide>
        <p15:guide id="5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orient="horz" pos="383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8000" y="6516000"/>
            <a:ext cx="7920000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600" y="6516000"/>
            <a:ext cx="468000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9B48C558-A7F3-422C-9EF9-874B10D3B44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4.04.202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800" y="6516000"/>
            <a:ext cx="360000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400" y="1965600"/>
            <a:ext cx="1175400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  <a:p>
            <a:pPr lvl="8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7" name="Gruppieren 6" hidden="1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597600" y="6091200"/>
            <a:chExt cx="2592000" cy="540000"/>
          </a:xfrm>
        </p:grpSpPr>
        <p:sp>
          <p:nvSpPr>
            <p:cNvPr id="10" name="Rechteck 9" hidden="1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 hidden="1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8" name="MSIPCMContentMarking" descr="{&quot;HashCode&quot;:2082987499,&quot;Placement&quot;:&quot;Footer&quot;,&quot;Top&quot;:520.3781,&quot;Left&quot;:452.558044,&quot;SlideWidth&quot;:960,&quot;SlideHeight&quot;:540}">
            <a:extLst>
              <a:ext uri="{FF2B5EF4-FFF2-40B4-BE49-F238E27FC236}">
                <a16:creationId xmlns:a16="http://schemas.microsoft.com/office/drawing/2014/main" id="{39B9D83A-41DB-F5DB-0F67-A66B8E519975}"/>
              </a:ext>
            </a:extLst>
          </p:cNvPr>
          <p:cNvSpPr txBox="1"/>
          <p:nvPr userDrawn="1"/>
        </p:nvSpPr>
        <p:spPr>
          <a:xfrm>
            <a:off x="5747487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290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8" r:id="rId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800" indent="-266400" algn="l" defTabSz="914400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0000" indent="-2772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4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6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8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80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52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4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png"/><Relationship Id="rId5" Type="http://schemas.openxmlformats.org/officeDocument/2006/relationships/image" Target="../media/image7.jpeg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png"/><Relationship Id="rId5" Type="http://schemas.openxmlformats.org/officeDocument/2006/relationships/image" Target="../media/image7.jpe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portal.basf.com/global/en/create/corporate-design/AI-in-Brand-Management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png"/><Relationship Id="rId5" Type="http://schemas.openxmlformats.org/officeDocument/2006/relationships/image" Target="../media/image7.jpeg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portal.basf.com/global/en/create/corporate-design/AI-in-Brand-Management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FEE0AF-ACC1-F3EE-AE38-93C1AE4454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Reptil, Säugetier, Eidechse, Schuppenkriechtiere enthält.&#10;&#10;KI-generierte Inhalte können fehlerhaft sein.">
            <a:extLst>
              <a:ext uri="{FF2B5EF4-FFF2-40B4-BE49-F238E27FC236}">
                <a16:creationId xmlns:a16="http://schemas.microsoft.com/office/drawing/2014/main" id="{DB9458D4-8848-3CDF-997A-5FFDC31F90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1443789" y="-138934"/>
            <a:ext cx="13753502" cy="6876751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D0AC544-C0E1-9835-8476-9470B670EDA2}"/>
              </a:ext>
            </a:extLst>
          </p:cNvPr>
          <p:cNvGrpSpPr/>
          <p:nvPr/>
        </p:nvGrpSpPr>
        <p:grpSpPr>
          <a:xfrm>
            <a:off x="6095999" y="5129975"/>
            <a:ext cx="13917600" cy="1080000"/>
            <a:chOff x="-6603522" y="863873"/>
            <a:chExt cx="13917600" cy="108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B14E1197-E8FC-A17D-E404-38F73447CBE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6603522" y="863873"/>
              <a:ext cx="13917600" cy="108000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prstClr val="black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9FE63C2D-0001-6C5F-2D3D-D76861C5B9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24043" y="1123200"/>
              <a:ext cx="1620001" cy="586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>
                  <a:solidFill>
                    <a:prstClr val="black"/>
                  </a:solidFill>
                </a14:hiddenLine>
              </a:ext>
            </a:extLst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A9BFB27-ADD2-663E-B88E-25EAD1E2F6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333488" y="1123200"/>
              <a:ext cx="1620001" cy="586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>
                  <a:solidFill>
                    <a:prstClr val="black"/>
                  </a:solidFill>
                </a14:hiddenLine>
              </a:ext>
            </a:extLst>
          </p:spPr>
        </p:pic>
      </p:grpSp>
      <p:sp>
        <p:nvSpPr>
          <p:cNvPr id="14" name="Rechteck 13">
            <a:extLst>
              <a:ext uri="{FF2B5EF4-FFF2-40B4-BE49-F238E27FC236}">
                <a16:creationId xmlns:a16="http://schemas.microsoft.com/office/drawing/2014/main" id="{5BC820CF-F9C6-8B3C-2A06-A64D83DE1D2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095999" y="3083442"/>
            <a:ext cx="13917600" cy="204653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E789EBAE-5FF9-BBEB-693D-3A2E84558C21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311999" y="3299442"/>
            <a:ext cx="5448001" cy="1120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4A96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Artificial</a:t>
            </a: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4A96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 </a:t>
            </a:r>
            <a:r>
              <a:rPr kumimoji="0" lang="de-DE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4A96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Intelligence</a:t>
            </a: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rgbClr val="004A96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4A96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meets</a:t>
            </a: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4A96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 Branding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4A96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D050636A-26B3-F65D-6E53-1E6D651A04E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312000" y="4564438"/>
            <a:ext cx="5448001" cy="34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"/>
              <a:buNone/>
              <a:defRPr sz="1800" b="0" i="0" kern="1200">
                <a:solidFill>
                  <a:schemeClr val="accent6"/>
                </a:solidFill>
                <a:latin typeface="Arial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Ludwigshafen am Rhein, 14th of April 2025</a:t>
            </a:r>
          </a:p>
        </p:txBody>
      </p:sp>
    </p:spTree>
    <p:extLst>
      <p:ext uri="{BB962C8B-B14F-4D97-AF65-F5344CB8AC3E}">
        <p14:creationId xmlns:p14="http://schemas.microsoft.com/office/powerpoint/2010/main" val="390509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71540A-62C7-56C8-0F97-71DCD2C66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73C40A-15D4-AB17-3025-FA7131201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i="0" dirty="0">
                <a:effectLst/>
                <a:latin typeface="+mn-lt"/>
              </a:rPr>
              <a:t>Brand Portal  I  </a:t>
            </a:r>
            <a:r>
              <a:rPr lang="de-DE" dirty="0">
                <a:latin typeface="+mn-lt"/>
              </a:rPr>
              <a:t>Summary BASF Use Cases</a:t>
            </a:r>
            <a:br>
              <a:rPr lang="en-GB" sz="2800" b="1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</a:br>
            <a:endParaRPr lang="en-GB" dirty="0">
              <a:latin typeface="+mn-lt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5E2900-4045-510E-1BB6-6D326B0DA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9917BBF-5FBA-EEAC-9BCB-B5D7674739FB}"/>
              </a:ext>
            </a:extLst>
          </p:cNvPr>
          <p:cNvSpPr txBox="1"/>
          <p:nvPr/>
        </p:nvSpPr>
        <p:spPr>
          <a:xfrm>
            <a:off x="472226" y="1113056"/>
            <a:ext cx="256480" cy="5539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E9E6C8B-1A40-B768-8142-AFCD91B80463}"/>
              </a:ext>
            </a:extLst>
          </p:cNvPr>
          <p:cNvSpPr txBox="1"/>
          <p:nvPr/>
        </p:nvSpPr>
        <p:spPr>
          <a:xfrm>
            <a:off x="472226" y="1961818"/>
            <a:ext cx="256480" cy="5539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 lvl="0">
              <a:defRPr lang="en-us"/>
            </a:defPPr>
            <a:lvl1pPr>
              <a:spcAft>
                <a:spcPts val="600"/>
              </a:spcAft>
              <a:defRPr sz="54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cs typeface="Arial"/>
              </a:rPr>
              <a:t>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EA35D2D-FFA4-AA0B-12DD-7D15FD0291BA}"/>
              </a:ext>
            </a:extLst>
          </p:cNvPr>
          <p:cNvSpPr txBox="1"/>
          <p:nvPr/>
        </p:nvSpPr>
        <p:spPr>
          <a:xfrm>
            <a:off x="472226" y="2489575"/>
            <a:ext cx="256480" cy="5539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 lvl="0">
              <a:defRPr lang="en-us"/>
            </a:defPPr>
            <a:lvl1pPr>
              <a:spcAft>
                <a:spcPts val="600"/>
              </a:spcAft>
              <a:defRPr sz="54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50022"/>
                </a:solidFill>
                <a:effectLst/>
                <a:uLnTx/>
                <a:uFillTx/>
                <a:latin typeface="Arial" panose="020B0604020202020204"/>
                <a:cs typeface="Arial"/>
              </a:rPr>
              <a:t>3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4A997C-ABC5-F569-6790-6533B9461E11}"/>
              </a:ext>
            </a:extLst>
          </p:cNvPr>
          <p:cNvSpPr txBox="1"/>
          <p:nvPr/>
        </p:nvSpPr>
        <p:spPr>
          <a:xfrm>
            <a:off x="472226" y="3131706"/>
            <a:ext cx="256480" cy="5539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 lvl="0">
              <a:defRPr lang="en-us"/>
            </a:defPPr>
            <a:lvl1pPr>
              <a:spcAft>
                <a:spcPts val="600"/>
              </a:spcAft>
              <a:defRPr sz="54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cs typeface="Arial"/>
              </a:rPr>
              <a:t>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E0E12E1-1077-D7AA-4756-539766BBF253}"/>
              </a:ext>
            </a:extLst>
          </p:cNvPr>
          <p:cNvSpPr txBox="1"/>
          <p:nvPr/>
        </p:nvSpPr>
        <p:spPr>
          <a:xfrm>
            <a:off x="472226" y="3823847"/>
            <a:ext cx="256480" cy="5539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 lvl="0">
              <a:defRPr lang="en-us"/>
            </a:defPPr>
            <a:lvl1pPr>
              <a:spcAft>
                <a:spcPts val="600"/>
              </a:spcAft>
              <a:defRPr sz="54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cs typeface="Arial"/>
              </a:rPr>
              <a:t>5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2321357-6E35-3374-7FD3-2C2E598294F2}"/>
              </a:ext>
            </a:extLst>
          </p:cNvPr>
          <p:cNvSpPr txBox="1">
            <a:spLocks/>
          </p:cNvSpPr>
          <p:nvPr/>
        </p:nvSpPr>
        <p:spPr>
          <a:xfrm>
            <a:off x="1113710" y="1202067"/>
            <a:ext cx="10775390" cy="47840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42000" indent="-342000" algn="l" defTabSz="914400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800" indent="-26640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0000" indent="-2772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6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8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80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52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SzPct val="70000"/>
              <a:buFont typeface="Wingdings" panose="05000000000000000000" pitchFamily="2" charset="2"/>
              <a:buNone/>
            </a:pPr>
            <a:r>
              <a:rPr lang="en-GB" sz="1800" b="1" dirty="0"/>
              <a:t>Images </a:t>
            </a:r>
            <a:r>
              <a:rPr lang="en-GB" sz="1800" dirty="0"/>
              <a:t>generated or manipulated by/with AI are </a:t>
            </a:r>
            <a:r>
              <a:rPr lang="en-GB" sz="1800" b="1" dirty="0"/>
              <a:t>only recommended if the exclusive use is irrelevant</a:t>
            </a:r>
            <a:r>
              <a:rPr lang="en-GB" sz="1800" dirty="0"/>
              <a:t>.</a:t>
            </a:r>
          </a:p>
          <a:p>
            <a:pPr marL="0" lvl="0" indent="0">
              <a:spcBef>
                <a:spcPts val="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</a:pPr>
            <a:r>
              <a:rPr lang="en-GB" sz="1800" dirty="0"/>
              <a:t>Reason: there is no copyright, third parties can use the image without any legal consequences.</a:t>
            </a:r>
          </a:p>
          <a:p>
            <a:pPr marL="0" lvl="0" indent="0"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</a:pPr>
            <a:r>
              <a:rPr lang="en-GB" sz="1800" b="1" dirty="0"/>
              <a:t>Video and Audio Generation </a:t>
            </a:r>
            <a:r>
              <a:rPr lang="en-GB" sz="1800" dirty="0"/>
              <a:t>is allowed if the content is new and prompt-based.</a:t>
            </a:r>
          </a:p>
          <a:p>
            <a:pPr marL="0" lvl="0" indent="0"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</a:pPr>
            <a:r>
              <a:rPr lang="en-GB" sz="1800" b="1" dirty="0"/>
              <a:t>Videos s</a:t>
            </a:r>
            <a:r>
              <a:rPr lang="en-US" sz="1800" b="1" dirty="0" err="1"/>
              <a:t>howing</a:t>
            </a:r>
            <a:r>
              <a:rPr lang="en-US" sz="1800" b="1" dirty="0"/>
              <a:t> a person executing a simultaneous translation including lip synchronization</a:t>
            </a:r>
            <a:r>
              <a:rPr lang="de-DE" sz="1800" b="1" dirty="0"/>
              <a:t> </a:t>
            </a:r>
            <a:r>
              <a:rPr lang="en-GB" sz="1800" dirty="0"/>
              <a:t>represent a </a:t>
            </a:r>
            <a:r>
              <a:rPr lang="en-GB" sz="1800" b="1" dirty="0"/>
              <a:t>classic deep fake</a:t>
            </a:r>
            <a:r>
              <a:rPr lang="en-GB" sz="1800" dirty="0"/>
              <a:t>. These videos shall be labelled.</a:t>
            </a:r>
          </a:p>
          <a:p>
            <a:pPr marL="0" lvl="0" indent="0"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</a:pPr>
            <a:r>
              <a:rPr lang="en-US" sz="1800" b="1" dirty="0">
                <a:ea typeface="Arial" panose="020B0604020202020204" pitchFamily="34" charset="0"/>
              </a:rPr>
              <a:t>Text Translations</a:t>
            </a:r>
            <a:r>
              <a:rPr lang="en-US" sz="1800" dirty="0">
                <a:ea typeface="Arial" panose="020B0604020202020204" pitchFamily="34" charset="0"/>
              </a:rPr>
              <a:t>: Note that BASF has no rights to the translation since it is AI generated. </a:t>
            </a:r>
            <a:r>
              <a:rPr lang="en-US" sz="1800" b="1" dirty="0">
                <a:ea typeface="Arial" panose="020B0604020202020204" pitchFamily="34" charset="0"/>
              </a:rPr>
              <a:t>BASF cannot license it exclusively.</a:t>
            </a:r>
          </a:p>
          <a:p>
            <a:pPr marL="0" lvl="0" indent="0"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</a:pPr>
            <a:r>
              <a:rPr lang="en-US" sz="1800" b="1" dirty="0">
                <a:solidFill>
                  <a:srgbClr val="000000"/>
                </a:solidFill>
              </a:rPr>
              <a:t>Text Generation: </a:t>
            </a:r>
            <a:r>
              <a:rPr lang="en-US" sz="1800" b="1" dirty="0">
                <a:solidFill>
                  <a:srgbClr val="242424"/>
                </a:solidFill>
                <a:ea typeface="Times New Roman" panose="02020603050405020304" pitchFamily="18" charset="0"/>
              </a:rPr>
              <a:t>There is no copyright for the created text. </a:t>
            </a:r>
            <a:r>
              <a:rPr lang="en-US" sz="1800" dirty="0">
                <a:solidFill>
                  <a:srgbClr val="242424"/>
                </a:solidFill>
                <a:ea typeface="Times New Roman" panose="02020603050405020304" pitchFamily="18" charset="0"/>
              </a:rPr>
              <a:t>The text can be used by third parties. This is only recommended if the exclusive use of the text is irrelevant to BASF</a:t>
            </a:r>
            <a:r>
              <a:rPr lang="en-US" dirty="0">
                <a:solidFill>
                  <a:srgbClr val="242424"/>
                </a:solidFill>
                <a:ea typeface="Times New Roman" panose="02020603050405020304" pitchFamily="18" charset="0"/>
              </a:rPr>
              <a:t>.</a:t>
            </a:r>
          </a:p>
          <a:p>
            <a:pPr marL="0" indent="0">
              <a:lnSpc>
                <a:spcPct val="107000"/>
              </a:lnSpc>
              <a:spcBef>
                <a:spcPts val="600"/>
              </a:spcBef>
              <a:buNone/>
            </a:pPr>
            <a:r>
              <a:rPr lang="en-US" sz="1800" b="1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I Voice Audio Generation</a:t>
            </a:r>
            <a:r>
              <a:rPr lang="de-DE" sz="1800" kern="100" dirty="0">
                <a:ea typeface="Arial" panose="020B0604020202020204" pitchFamily="34" charset="0"/>
              </a:rPr>
              <a:t> </a:t>
            </a:r>
            <a:r>
              <a:rPr lang="en-US" sz="1800" b="1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e.g. talking </a:t>
            </a:r>
            <a:r>
              <a:rPr lang="en-US" sz="1800" b="1" kern="100" dirty="0">
                <a:solidFill>
                  <a:srgbClr val="000000"/>
                </a:solidFill>
                <a:ea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1800" b="1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atar)</a:t>
            </a:r>
            <a:r>
              <a:rPr lang="de-DE" sz="1800" kern="100" dirty="0">
                <a:solidFill>
                  <a:srgbClr val="000000"/>
                </a:solidFill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800" kern="100" dirty="0" err="1">
                <a:solidFill>
                  <a:srgbClr val="000000"/>
                </a:solidFill>
                <a:ea typeface="Arial" panose="020B0604020202020204" pitchFamily="34" charset="0"/>
                <a:cs typeface="Arial" panose="020B0604020202020204" pitchFamily="34" charset="0"/>
              </a:rPr>
              <a:t>represents</a:t>
            </a:r>
            <a:r>
              <a:rPr lang="de-DE" sz="1800" kern="100" dirty="0">
                <a:solidFill>
                  <a:srgbClr val="000000"/>
                </a:solidFill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 classic deep fake </a:t>
            </a:r>
            <a:r>
              <a:rPr lang="en-US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nd shall be labelled.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re is no copyright for the created avatar with voice over.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b="1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ound/Music Generation</a:t>
            </a:r>
            <a:r>
              <a:rPr lang="de-DE" sz="1800" b="1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resp. </a:t>
            </a:r>
            <a:r>
              <a:rPr lang="en-US" sz="1800" b="1" kern="100" dirty="0">
                <a:solidFill>
                  <a:srgbClr val="000000"/>
                </a:solidFill>
                <a:ea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ntire Generation of a Music </a:t>
            </a:r>
            <a:r>
              <a:rPr lang="en-US" sz="1800" b="1" dirty="0">
                <a:ea typeface="Arial" panose="020B0604020202020204" pitchFamily="34" charset="0"/>
              </a:rPr>
              <a:t>P</a:t>
            </a:r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iece. </a:t>
            </a:r>
            <a:r>
              <a:rPr lang="en-US" sz="1800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udio generation is allowed if the result is new and prompt-based content</a:t>
            </a:r>
            <a:r>
              <a:rPr lang="en-US" sz="1800" kern="1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r>
              <a:rPr lang="en-US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o imitation of existing audio styles or audio voice of famous singers or music, etc.</a:t>
            </a:r>
            <a:endParaRPr lang="de-DE" sz="1800" kern="1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de-DE" sz="1800" kern="1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0" indent="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242424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GB" dirty="0"/>
          </a:p>
          <a:p>
            <a:pPr marL="0" lvl="0" indent="0"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</a:pPr>
            <a:endParaRPr lang="en-GB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A7B7C77-B395-D4E7-C331-682C4DD96926}"/>
              </a:ext>
            </a:extLst>
          </p:cNvPr>
          <p:cNvSpPr txBox="1"/>
          <p:nvPr/>
        </p:nvSpPr>
        <p:spPr>
          <a:xfrm>
            <a:off x="472226" y="4542833"/>
            <a:ext cx="256480" cy="5539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 lvl="0"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3600" b="1" i="0" u="none" strike="noStrike" cap="none" spc="0" normalizeH="0" baseline="0">
                <a:ln>
                  <a:noFill/>
                </a:ln>
                <a:solidFill>
                  <a:srgbClr val="C50022"/>
                </a:solidFill>
                <a:effectLst/>
                <a:uLnTx/>
                <a:uFillTx/>
                <a:latin typeface="Arial" panose="020B0604020202020204"/>
                <a:cs typeface="Arial"/>
              </a:defRPr>
            </a:lvl1pPr>
          </a:lstStyle>
          <a:p>
            <a:r>
              <a:rPr lang="en-us" dirty="0"/>
              <a:t>6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0D30F75-C313-615E-7779-C307D002C1CD}"/>
              </a:ext>
            </a:extLst>
          </p:cNvPr>
          <p:cNvSpPr txBox="1"/>
          <p:nvPr/>
        </p:nvSpPr>
        <p:spPr>
          <a:xfrm>
            <a:off x="472226" y="5188167"/>
            <a:ext cx="256480" cy="5539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 lvl="0">
              <a:defRPr lang="en-us"/>
            </a:defPPr>
            <a:lvl1pPr>
              <a:spcAft>
                <a:spcPts val="600"/>
              </a:spcAft>
              <a:defRPr sz="54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cs typeface="Arial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078676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Licht enthält.&#10;&#10;Automatisch generierte Beschreibung mit mittlerer Zuverlässigkeit">
            <a:extLst>
              <a:ext uri="{FF2B5EF4-FFF2-40B4-BE49-F238E27FC236}">
                <a16:creationId xmlns:a16="http://schemas.microsoft.com/office/drawing/2014/main" id="{9B250208-A642-72D9-0A8C-99412E5467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4"/>
            <a:ext cx="12192000" cy="6857531"/>
          </a:xfrm>
          <a:prstGeom prst="rect">
            <a:avLst/>
          </a:prstGeom>
          <a:effectLst>
            <a:reflection endPos="65000" dist="50800" dir="5400000" sy="-100000" algn="bl" rotWithShape="0"/>
          </a:effectLst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306A582-9427-BCD0-6373-70C584B51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D06BE5A-F5A8-41BC-E646-7ACEB483ADC1}"/>
              </a:ext>
            </a:extLst>
          </p:cNvPr>
          <p:cNvGrpSpPr/>
          <p:nvPr/>
        </p:nvGrpSpPr>
        <p:grpSpPr>
          <a:xfrm>
            <a:off x="9601200" y="6091200"/>
            <a:ext cx="2592000" cy="540000"/>
            <a:chOff x="9597600" y="6091200"/>
            <a:chExt cx="2592000" cy="540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47D805F-E7FC-5B09-A552-5297AA21CED5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C07679CC-B418-CEED-EA72-7DEC38FF62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80881AFD-F90E-CF11-515D-3C88D995E54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06800" y="555458"/>
            <a:ext cx="10247023" cy="297312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600" dirty="0">
                <a:solidFill>
                  <a:srgbClr val="FFFFFF"/>
                </a:solidFill>
                <a:ea typeface="Arial"/>
                <a:cs typeface="Arial"/>
              </a:rPr>
              <a:t>Take-aways</a:t>
            </a: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 for</a:t>
            </a:r>
            <a:endParaRPr lang="en-us" sz="6600" dirty="0">
              <a:solidFill>
                <a:srgbClr val="FFFFFF"/>
              </a:solidFill>
              <a:ea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600" dirty="0">
                <a:solidFill>
                  <a:srgbClr val="FFFFFF"/>
                </a:solidFill>
                <a:ea typeface="Arial"/>
                <a:cs typeface="Arial"/>
              </a:rPr>
              <a:t>Creators of Communication Assets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266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ED10C3-F308-0C49-3650-F3FAA3CF3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ke-away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reator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mmunication Assets</a:t>
            </a:r>
            <a:br>
              <a:rPr lang="en-GB" sz="2800" b="1" dirty="0">
                <a:solidFill>
                  <a:schemeClr val="accent1"/>
                </a:solidFill>
                <a:ea typeface="+mj-ea"/>
                <a:cs typeface="+mj-cs"/>
              </a:rPr>
            </a:b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6BE7D3E-C91A-7DD6-6C57-9C7F9DAA8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6800" y="1475994"/>
            <a:ext cx="11736000" cy="4950006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  <a:buSzPct val="70000"/>
            </a:pPr>
            <a:r>
              <a:rPr lang="en-US" i="0" dirty="0">
                <a:solidFill>
                  <a:srgbClr val="333333"/>
                </a:solidFill>
                <a:effectLst/>
                <a:latin typeface="Helvetica Neue LT W05_45"/>
              </a:rPr>
              <a:t>Whenever you create communication assets, please consider the </a:t>
            </a:r>
            <a:r>
              <a:rPr lang="en-US" b="1" i="0" dirty="0">
                <a:solidFill>
                  <a:srgbClr val="333333"/>
                </a:solidFill>
                <a:effectLst/>
                <a:latin typeface="Helvetica Neue LT W05_45"/>
              </a:rPr>
              <a:t>three pillars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SzPct val="70000"/>
              <a:buNone/>
            </a:pPr>
            <a:endParaRPr lang="en-US" b="1" i="0" dirty="0">
              <a:solidFill>
                <a:srgbClr val="333333"/>
              </a:solidFill>
              <a:effectLst/>
              <a:latin typeface="Helvetica Neue LT W05_45"/>
            </a:endParaRPr>
          </a:p>
          <a:p>
            <a:pPr marL="0" indent="0">
              <a:spcBef>
                <a:spcPts val="0"/>
              </a:spcBef>
              <a:buSzPct val="70000"/>
              <a:buNone/>
            </a:pPr>
            <a:endParaRPr lang="en-US" b="1" i="0" dirty="0">
              <a:solidFill>
                <a:srgbClr val="333333"/>
              </a:solidFill>
              <a:effectLst/>
              <a:latin typeface="Helvetica Neue LT W05_45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SzPct val="70000"/>
            </a:pPr>
            <a:r>
              <a:rPr lang="en-GB" dirty="0"/>
              <a:t>Please </a:t>
            </a:r>
            <a:r>
              <a:rPr lang="en-GB" b="1" dirty="0"/>
              <a:t>inform yourself proactively</a:t>
            </a:r>
            <a:r>
              <a:rPr lang="en-GB" dirty="0"/>
              <a:t>. The </a:t>
            </a:r>
            <a:r>
              <a:rPr lang="en-GB" b="1" dirty="0"/>
              <a:t>seven use cases represent ~ 80% of current BASF cases </a:t>
            </a:r>
            <a:r>
              <a:rPr lang="en-GB" dirty="0"/>
              <a:t>giving you first guidance.</a:t>
            </a:r>
            <a:endParaRPr lang="en-US" dirty="0"/>
          </a:p>
          <a:p>
            <a:pPr>
              <a:spcBef>
                <a:spcPts val="600"/>
              </a:spcBef>
              <a:spcAft>
                <a:spcPts val="600"/>
              </a:spcAft>
              <a:buSzPct val="70000"/>
            </a:pPr>
            <a:r>
              <a:rPr lang="en-US" dirty="0"/>
              <a:t>Legal &amp; ethic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Inform yourself regularly about your regional legal framework.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b="1" dirty="0"/>
              <a:t>Partner early in the project with your regional legal counsel</a:t>
            </a:r>
            <a:r>
              <a:rPr lang="en-US" dirty="0"/>
              <a:t>.</a:t>
            </a:r>
          </a:p>
          <a:p>
            <a:pPr marL="355600" lvl="1" indent="273050">
              <a:spcAft>
                <a:spcPts val="600"/>
              </a:spcAft>
              <a:buNone/>
            </a:pPr>
            <a:r>
              <a:rPr lang="en-US" dirty="0"/>
              <a:t>Mindset change: “Tell me how to do it, not how not to do it.“</a:t>
            </a:r>
          </a:p>
          <a:p>
            <a:pPr marL="342000" lvl="1" indent="-342000">
              <a:spcAft>
                <a:spcPts val="1800"/>
              </a:spcAft>
              <a:buSzPct val="70000"/>
              <a:buFont typeface="Wingdings" panose="05000000000000000000" pitchFamily="2" charset="2"/>
              <a:buChar char=""/>
            </a:pPr>
            <a:r>
              <a:rPr lang="en-US" dirty="0"/>
              <a:t>Branding - </a:t>
            </a:r>
            <a:r>
              <a:rPr lang="en-US" b="1" dirty="0"/>
              <a:t>include your respective consultant</a:t>
            </a:r>
            <a:r>
              <a:rPr lang="en-US" dirty="0"/>
              <a:t>.</a:t>
            </a:r>
            <a:endParaRPr lang="en-GB" b="1" dirty="0"/>
          </a:p>
          <a:p>
            <a:pPr marL="280800" lvl="1" indent="0">
              <a:buSzPct val="70000"/>
              <a:buNone/>
            </a:pPr>
            <a:r>
              <a:rPr lang="en-GB" dirty="0"/>
              <a:t>Note: Neither Brand Consultancy nor Legal can take away the last risk from the consulted party.</a:t>
            </a:r>
          </a:p>
          <a:p>
            <a:pPr marL="280800" lvl="1" indent="0">
              <a:spcAft>
                <a:spcPts val="600"/>
              </a:spcAft>
              <a:buSzPct val="70000"/>
              <a:buNone/>
            </a:pPr>
            <a:r>
              <a:rPr lang="en-GB" dirty="0"/>
              <a:t>The consulted party must decide for itself and bear the full responsibility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DC9806-7B05-547B-64B3-7F8162D4F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C7DDC5E-CA36-7E0D-FCE0-3315AD9BB289}"/>
              </a:ext>
            </a:extLst>
          </p:cNvPr>
          <p:cNvSpPr/>
          <p:nvPr/>
        </p:nvSpPr>
        <p:spPr>
          <a:xfrm>
            <a:off x="567553" y="1922793"/>
            <a:ext cx="1497100" cy="4276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Lega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7CB57D1-B421-7D9D-3891-45238AD05DCB}"/>
              </a:ext>
            </a:extLst>
          </p:cNvPr>
          <p:cNvSpPr/>
          <p:nvPr/>
        </p:nvSpPr>
        <p:spPr>
          <a:xfrm>
            <a:off x="2253229" y="1922793"/>
            <a:ext cx="1497100" cy="4276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err="1"/>
              <a:t>Ethics</a:t>
            </a:r>
            <a:endParaRPr lang="de-DE" sz="1600" b="1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7AC1D2-74BE-C6AA-A22D-801E79BAA26D}"/>
              </a:ext>
            </a:extLst>
          </p:cNvPr>
          <p:cNvSpPr/>
          <p:nvPr/>
        </p:nvSpPr>
        <p:spPr>
          <a:xfrm>
            <a:off x="3925238" y="1922793"/>
            <a:ext cx="1497100" cy="4276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Branding</a:t>
            </a:r>
          </a:p>
        </p:txBody>
      </p:sp>
    </p:spTree>
    <p:extLst>
      <p:ext uri="{BB962C8B-B14F-4D97-AF65-F5344CB8AC3E}">
        <p14:creationId xmlns:p14="http://schemas.microsoft.com/office/powerpoint/2010/main" val="34023667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502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E6C96F-AFFD-4062-17A2-88F04D51D9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Licht enthält.&#10;&#10;Automatisch generierte Beschreibung mit mittlerer Zuverlässigkeit">
            <a:extLst>
              <a:ext uri="{FF2B5EF4-FFF2-40B4-BE49-F238E27FC236}">
                <a16:creationId xmlns:a16="http://schemas.microsoft.com/office/drawing/2014/main" id="{5E77B3F6-23B2-337B-CD50-644C1786B9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4"/>
            <a:ext cx="12192000" cy="6857531"/>
          </a:xfrm>
          <a:prstGeom prst="rect">
            <a:avLst/>
          </a:prstGeom>
          <a:effectLst>
            <a:reflection endPos="65000" dist="50800" dir="5400000" sy="-100000" algn="bl" rotWithShape="0"/>
          </a:effectLst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F0BA87-6E32-CEAE-CB17-91E186221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C4E3DF5-6714-272F-85B3-868308B7A006}"/>
              </a:ext>
            </a:extLst>
          </p:cNvPr>
          <p:cNvGrpSpPr/>
          <p:nvPr/>
        </p:nvGrpSpPr>
        <p:grpSpPr>
          <a:xfrm>
            <a:off x="9601200" y="6091200"/>
            <a:ext cx="2592000" cy="540000"/>
            <a:chOff x="9597600" y="6091200"/>
            <a:chExt cx="2592000" cy="540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447A6A83-D6E7-7A36-0DE5-C46CE4B10942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6C7D52C-040C-A574-6F06-691CBEDB26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88E4D42D-C61E-136D-1FEA-77EE1A0E93E9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86800" y="680644"/>
            <a:ext cx="8295094" cy="9140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Why, What and Ho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9349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A59118-D04F-AFB5-1089-6849A6B8A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00" y="165449"/>
            <a:ext cx="3239379" cy="1477926"/>
          </a:xfrm>
        </p:spPr>
        <p:txBody>
          <a:bodyPr/>
          <a:lstStyle/>
          <a:p>
            <a:r>
              <a:rPr lang="en-GB" sz="7200" dirty="0"/>
              <a:t>WHY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6292CB-B7E1-8AB9-BFB1-8F20CD37E5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9823" y="1965579"/>
            <a:ext cx="9739424" cy="2340607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r>
              <a:rPr lang="en-US" dirty="0"/>
              <a:t>Artificial Intelligence  is a </a:t>
            </a:r>
            <a:r>
              <a:rPr lang="en-US" b="1" dirty="0"/>
              <a:t>key measure </a:t>
            </a:r>
            <a:r>
              <a:rPr lang="en-US" dirty="0"/>
              <a:t>of the </a:t>
            </a:r>
            <a:r>
              <a:rPr lang="en-US" b="1" dirty="0"/>
              <a:t>strategic lever "Accelerate" in the BASF strategy</a:t>
            </a:r>
            <a:r>
              <a:rPr lang="en-US" dirty="0"/>
              <a:t>. Besides, the use of AI in our professional life is now a matter of course: it allows us an </a:t>
            </a:r>
            <a:r>
              <a:rPr lang="en-US" b="1" dirty="0"/>
              <a:t>easier and more efficient way of working </a:t>
            </a:r>
            <a:r>
              <a:rPr lang="en-US" dirty="0"/>
              <a:t>resulting best case in an augmentation of our communication. </a:t>
            </a:r>
          </a:p>
          <a:p>
            <a:pPr marL="0" indent="0">
              <a:buNone/>
            </a:pPr>
            <a:r>
              <a:rPr lang="en-US" dirty="0"/>
              <a:t>In contrast, there is the </a:t>
            </a:r>
            <a:r>
              <a:rPr lang="en-US" b="1" dirty="0"/>
              <a:t>danger of misusing AI tools </a:t>
            </a:r>
            <a:r>
              <a:rPr lang="en-US" dirty="0"/>
              <a:t>with the goal to manipulate the public and to cause harm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EA9A36-9522-517C-C84F-B0B1C7BC3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95A6383-A3D9-F325-EA72-1FE7700FF0AA}"/>
              </a:ext>
            </a:extLst>
          </p:cNvPr>
          <p:cNvSpPr txBox="1"/>
          <p:nvPr/>
        </p:nvSpPr>
        <p:spPr>
          <a:xfrm>
            <a:off x="673746" y="1829843"/>
            <a:ext cx="384721" cy="83099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EA8EE7D-CBDE-455D-412E-18C4541C4636}"/>
              </a:ext>
            </a:extLst>
          </p:cNvPr>
          <p:cNvSpPr txBox="1"/>
          <p:nvPr/>
        </p:nvSpPr>
        <p:spPr>
          <a:xfrm>
            <a:off x="681138" y="3341528"/>
            <a:ext cx="384721" cy="83099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 lvl="0">
              <a:defRPr lang="en-us"/>
            </a:defPPr>
            <a:lvl1pPr>
              <a:spcAft>
                <a:spcPts val="600"/>
              </a:spcAft>
              <a:defRPr sz="54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cs typeface="Arial"/>
              </a:rPr>
              <a:t>2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A14715C-FE2B-FBC2-36D0-DBD13FA9DFDC}"/>
              </a:ext>
            </a:extLst>
          </p:cNvPr>
          <p:cNvSpPr txBox="1">
            <a:spLocks/>
          </p:cNvSpPr>
          <p:nvPr/>
        </p:nvSpPr>
        <p:spPr>
          <a:xfrm>
            <a:off x="681138" y="4713451"/>
            <a:ext cx="10855188" cy="1006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42000" indent="-342000" algn="l" defTabSz="914400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800" indent="-26640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0000" indent="-2772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6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8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80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52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lvl="0" indent="0">
              <a:buFont typeface="Wingdings" panose="05000000000000000000" pitchFamily="2" charset="2"/>
              <a:buNone/>
            </a:pPr>
            <a:r>
              <a:rPr lang="en-US" dirty="0"/>
              <a:t>Thus, the "what" and "how" needs to be clarified and constantly adapted to currently fast-moving developments. To maximize the benefits of AI, mitigate risks and prevent potential disadvantages, </a:t>
            </a:r>
            <a:r>
              <a:rPr lang="en-US" b="1" dirty="0"/>
              <a:t>legal, ethical and branding aspects must be considered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8697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A59118-D04F-AFB5-1089-6849A6B8A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456" y="165449"/>
            <a:ext cx="4472791" cy="1477926"/>
          </a:xfrm>
        </p:spPr>
        <p:txBody>
          <a:bodyPr/>
          <a:lstStyle/>
          <a:p>
            <a:r>
              <a:rPr lang="en-GB" sz="7200" dirty="0"/>
              <a:t>WH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6292CB-B7E1-8AB9-BFB1-8F20CD37E5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656" y="1540267"/>
            <a:ext cx="11002693" cy="3906012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r>
              <a:rPr lang="en-US" b="1" dirty="0">
                <a:solidFill>
                  <a:schemeClr val="tx2"/>
                </a:solidFill>
              </a:rPr>
              <a:t>    </a:t>
            </a:r>
            <a:r>
              <a:rPr lang="en-US" b="1" dirty="0">
                <a:solidFill>
                  <a:schemeClr val="accent1"/>
                </a:solidFill>
              </a:rPr>
              <a:t>Evaluation of Artificial Intelligence Tools @ BASF</a:t>
            </a:r>
            <a:endParaRPr lang="en-GB" b="1" dirty="0">
              <a:solidFill>
                <a:schemeClr val="accent1"/>
              </a:solidFill>
            </a:endParaRPr>
          </a:p>
          <a:p>
            <a:pPr marL="280800" lvl="1" indent="0">
              <a:spcAft>
                <a:spcPts val="1800"/>
              </a:spcAft>
              <a:buNone/>
            </a:pPr>
            <a:r>
              <a:rPr lang="en-US" dirty="0"/>
              <a:t>There are continuously a </a:t>
            </a:r>
            <a:r>
              <a:rPr lang="en-US" b="1" dirty="0"/>
              <a:t>variety of AI tools tested and evaluated</a:t>
            </a:r>
            <a:r>
              <a:rPr lang="en-US" dirty="0"/>
              <a:t>. The goal is to provide the community with a recommendation of AI tools.</a:t>
            </a:r>
          </a:p>
          <a:p>
            <a:pPr marL="280800" lvl="1" indent="0">
              <a:spcAft>
                <a:spcPts val="1200"/>
              </a:spcAft>
              <a:buNone/>
            </a:pPr>
            <a:endParaRPr lang="en-US" dirty="0"/>
          </a:p>
          <a:p>
            <a:pPr marL="280800" lvl="1" indent="0">
              <a:buNone/>
            </a:pPr>
            <a:r>
              <a:rPr lang="en-US" b="1" dirty="0"/>
              <a:t>Important: Always familiarize yourself with the terms and use and data protection of third party applications before sharing any (internal) information. As a rule of thumb, don’t share any internal information or higher with external providers unless there is an existing agreement between the provider and BASF.</a:t>
            </a:r>
            <a:endParaRPr lang="de-DE" b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EA9A36-9522-517C-C84F-B0B1C7BC3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D46BC51-AA6C-8A77-BD07-472EB3C50C31}"/>
              </a:ext>
            </a:extLst>
          </p:cNvPr>
          <p:cNvSpPr txBox="1"/>
          <p:nvPr/>
        </p:nvSpPr>
        <p:spPr>
          <a:xfrm>
            <a:off x="469547" y="1430724"/>
            <a:ext cx="285335" cy="61555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29976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A59118-D04F-AFB5-1089-6849A6B8A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456" y="165449"/>
            <a:ext cx="2993555" cy="1034689"/>
          </a:xfrm>
        </p:spPr>
        <p:txBody>
          <a:bodyPr/>
          <a:lstStyle/>
          <a:p>
            <a:r>
              <a:rPr lang="en-GB" sz="7200" dirty="0"/>
              <a:t>WHA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EA9A36-9522-517C-C84F-B0B1C7BC3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680492F-CE28-1C81-EF32-8E6036D6B8F2}"/>
              </a:ext>
            </a:extLst>
          </p:cNvPr>
          <p:cNvSpPr/>
          <p:nvPr/>
        </p:nvSpPr>
        <p:spPr>
          <a:xfrm>
            <a:off x="1052622" y="3055376"/>
            <a:ext cx="3072811" cy="4552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Lega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DCC06AB-4D20-F7E6-63C4-8217A4FBDB8A}"/>
              </a:ext>
            </a:extLst>
          </p:cNvPr>
          <p:cNvSpPr/>
          <p:nvPr/>
        </p:nvSpPr>
        <p:spPr>
          <a:xfrm>
            <a:off x="4655289" y="3055372"/>
            <a:ext cx="3072810" cy="4552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 err="1"/>
              <a:t>Ethics</a:t>
            </a:r>
            <a:endParaRPr lang="de-DE" sz="2000" b="1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CAAF00F-60A3-EC75-9D8A-CE35E05DB1D6}"/>
              </a:ext>
            </a:extLst>
          </p:cNvPr>
          <p:cNvSpPr/>
          <p:nvPr/>
        </p:nvSpPr>
        <p:spPr>
          <a:xfrm>
            <a:off x="8272124" y="3055372"/>
            <a:ext cx="3025037" cy="4552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Brandi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E53CD9D-BA75-F137-7797-D4A0381F6A83}"/>
              </a:ext>
            </a:extLst>
          </p:cNvPr>
          <p:cNvSpPr txBox="1"/>
          <p:nvPr/>
        </p:nvSpPr>
        <p:spPr>
          <a:xfrm>
            <a:off x="1052623" y="3665263"/>
            <a:ext cx="2881424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buFont typeface="Wingdings" panose="05000000000000000000" pitchFamily="2" charset="2"/>
              <a:buChar char="§"/>
            </a:pPr>
            <a:r>
              <a:rPr lang="en-US" sz="1200" dirty="0"/>
              <a:t>AI Act, art. 50, version 13.03.2024</a:t>
            </a:r>
          </a:p>
          <a:p>
            <a:pPr marL="180975" indent="-180975">
              <a:buFont typeface="Wingdings" panose="05000000000000000000" pitchFamily="2" charset="2"/>
              <a:buChar char="§"/>
            </a:pPr>
            <a:r>
              <a:rPr lang="de-DE" sz="1200" dirty="0"/>
              <a:t>Binding </a:t>
            </a:r>
            <a:r>
              <a:rPr lang="de-DE" sz="1200" dirty="0" err="1"/>
              <a:t>document</a:t>
            </a:r>
            <a:r>
              <a:rPr lang="de-DE" sz="1200" dirty="0"/>
              <a:t> "AI in Communication </a:t>
            </a:r>
            <a:r>
              <a:rPr lang="de-DE" sz="1200" dirty="0" err="1"/>
              <a:t>Contexts</a:t>
            </a:r>
            <a:r>
              <a:rPr lang="de-DE" sz="1200" dirty="0"/>
              <a:t>"</a:t>
            </a:r>
            <a:endParaRPr lang="en-US" sz="1200" dirty="0"/>
          </a:p>
          <a:p>
            <a:pPr marL="180975" indent="-180975">
              <a:buFont typeface="Wingdings" panose="05000000000000000000" pitchFamily="2" charset="2"/>
              <a:buChar char="§"/>
            </a:pPr>
            <a:r>
              <a:rPr lang="en-US" sz="1200" b="1" dirty="0"/>
              <a:t>Necessity of labeling</a:t>
            </a:r>
          </a:p>
          <a:p>
            <a:pPr indent="180975"/>
            <a:r>
              <a:rPr lang="en-US" sz="1200" dirty="0"/>
              <a:t>1) deep fakes**</a:t>
            </a:r>
          </a:p>
          <a:p>
            <a:pPr marL="180975"/>
            <a:r>
              <a:rPr lang="en-US" sz="1200" dirty="0"/>
              <a:t>2) text published with the purpose of informing the public on matters of public interest</a:t>
            </a:r>
          </a:p>
          <a:p>
            <a:pPr marL="180975" indent="-180975">
              <a:buFont typeface="Wingdings" panose="05000000000000000000" pitchFamily="2" charset="2"/>
              <a:buChar char="§"/>
            </a:pPr>
            <a:r>
              <a:rPr lang="en-US" sz="1200" dirty="0"/>
              <a:t>standardized identifier in the filename </a:t>
            </a:r>
            <a:r>
              <a:rPr lang="en-US" sz="1200" b="1" dirty="0"/>
              <a:t>"_aga-YY-MM-DD</a:t>
            </a:r>
            <a:r>
              <a:rPr lang="en-US" sz="1200" dirty="0"/>
              <a:t>“ *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801C1F8-F810-E613-E55F-3E4DE8ED3210}"/>
              </a:ext>
            </a:extLst>
          </p:cNvPr>
          <p:cNvSpPr txBox="1"/>
          <p:nvPr/>
        </p:nvSpPr>
        <p:spPr>
          <a:xfrm>
            <a:off x="4655289" y="3665263"/>
            <a:ext cx="2881424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buFont typeface="Wingdings" panose="05000000000000000000" pitchFamily="2" charset="2"/>
              <a:buChar char="§"/>
            </a:pPr>
            <a:r>
              <a:rPr lang="en-US" sz="1200" dirty="0"/>
              <a:t>Ethical considerations are part of current laws such as the AI Act and local legislation. BASF must </a:t>
            </a:r>
            <a:r>
              <a:rPr lang="en-US" sz="1200" b="1" dirty="0"/>
              <a:t>ensure compliance </a:t>
            </a:r>
            <a:r>
              <a:rPr lang="en-US" sz="1200" dirty="0"/>
              <a:t>with them.</a:t>
            </a:r>
          </a:p>
          <a:p>
            <a:pPr marL="180975" indent="-180975">
              <a:buFont typeface="Wingdings" panose="05000000000000000000" pitchFamily="2" charset="2"/>
              <a:buChar char="§"/>
            </a:pPr>
            <a:r>
              <a:rPr lang="en-US" sz="1200" dirty="0"/>
              <a:t>In particular, the following aspects must be fulfilled:</a:t>
            </a:r>
          </a:p>
          <a:p>
            <a:pPr marL="180975" lvl="1"/>
            <a:r>
              <a:rPr lang="en-US" sz="1200" dirty="0"/>
              <a:t>1) The use of AI tools </a:t>
            </a:r>
            <a:r>
              <a:rPr lang="en-US" sz="1200" b="1" dirty="0"/>
              <a:t>shall not harm human beings</a:t>
            </a:r>
            <a:r>
              <a:rPr lang="en-US" sz="1200" dirty="0"/>
              <a:t> and must preserve human autonomy.</a:t>
            </a:r>
          </a:p>
          <a:p>
            <a:pPr marL="180975" lvl="1"/>
            <a:r>
              <a:rPr lang="en-US" sz="1200" dirty="0"/>
              <a:t>2) The use of AI must be </a:t>
            </a:r>
            <a:r>
              <a:rPr lang="en-US" sz="1200" b="1" dirty="0"/>
              <a:t>fair, transparent and explicable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9F90BA4-4BD9-5F1D-7E01-D1B6DA9DA193}"/>
              </a:ext>
            </a:extLst>
          </p:cNvPr>
          <p:cNvSpPr txBox="1"/>
          <p:nvPr/>
        </p:nvSpPr>
        <p:spPr>
          <a:xfrm>
            <a:off x="8273377" y="3665263"/>
            <a:ext cx="2881424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The product/asset/content owner must make sure that communication assets such as text, visuals, audio and videos </a:t>
            </a:r>
            <a:r>
              <a:rPr lang="en-US" sz="1200" b="1" dirty="0"/>
              <a:t>are compliant with the branding guidelines </a:t>
            </a:r>
            <a:r>
              <a:rPr lang="en-US" sz="1200" dirty="0"/>
              <a:t>representing its DNA.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9A199CDA-8F91-08A8-65DD-BB34AC13CCF0}"/>
              </a:ext>
            </a:extLst>
          </p:cNvPr>
          <p:cNvSpPr txBox="1">
            <a:spLocks/>
          </p:cNvSpPr>
          <p:nvPr/>
        </p:nvSpPr>
        <p:spPr>
          <a:xfrm>
            <a:off x="829662" y="1574088"/>
            <a:ext cx="10467500" cy="19139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342000" indent="-342000" algn="l" defTabSz="914400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800" indent="-26640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0000" indent="-2772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6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8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80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52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280800" lvl="1" indent="0">
              <a:buFont typeface="Wingdings 3" panose="05040102010807070707" pitchFamily="18" charset="2"/>
              <a:buNone/>
            </a:pPr>
            <a:r>
              <a:rPr lang="en-US" sz="1800" b="1" dirty="0">
                <a:solidFill>
                  <a:schemeClr val="accent1"/>
                </a:solidFill>
              </a:rPr>
              <a:t>AI Governance - The Three Pillar Concept</a:t>
            </a:r>
          </a:p>
          <a:p>
            <a:pPr marL="280800" lvl="1" indent="0">
              <a:buFont typeface="Wingdings 3" panose="05040102010807070707" pitchFamily="18" charset="2"/>
              <a:buNone/>
            </a:pPr>
            <a:r>
              <a:rPr lang="en-US" sz="1800" dirty="0"/>
              <a:t>Next to the tools, we must have a closer look to content being created by and/or with the support of AI. For the safe and compliant use of AI tools and its content creation, we developed a guiding framework based on three pillars </a:t>
            </a:r>
            <a:r>
              <a:rPr lang="en-US" sz="1800" b="1" dirty="0"/>
              <a:t>Legal</a:t>
            </a:r>
            <a:r>
              <a:rPr lang="en-US" sz="1800" dirty="0"/>
              <a:t>, </a:t>
            </a:r>
            <a:r>
              <a:rPr lang="en-US" sz="1800" b="1" dirty="0"/>
              <a:t>Ethics </a:t>
            </a:r>
            <a:r>
              <a:rPr lang="en-US" sz="1800" dirty="0"/>
              <a:t>and </a:t>
            </a:r>
            <a:r>
              <a:rPr lang="en-US" sz="1800" b="1" dirty="0"/>
              <a:t>Branding.</a:t>
            </a:r>
            <a:endParaRPr lang="en-GB" sz="18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F7E4386-414D-F219-C406-1F9A0416F78C}"/>
              </a:ext>
            </a:extLst>
          </p:cNvPr>
          <p:cNvSpPr txBox="1"/>
          <p:nvPr/>
        </p:nvSpPr>
        <p:spPr>
          <a:xfrm>
            <a:off x="507118" y="1467545"/>
            <a:ext cx="285335" cy="61555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 lvl="0">
              <a:defRPr lang="en-us"/>
            </a:defPPr>
            <a:lvl1pPr>
              <a:spcAft>
                <a:spcPts val="600"/>
              </a:spcAft>
              <a:defRPr sz="54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cs typeface="Arial"/>
              </a:rPr>
              <a:t>2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F5463A3-F54D-55FD-BBF5-9EFAF37CDCCC}"/>
              </a:ext>
            </a:extLst>
          </p:cNvPr>
          <p:cNvSpPr txBox="1"/>
          <p:nvPr/>
        </p:nvSpPr>
        <p:spPr>
          <a:xfrm>
            <a:off x="1052622" y="6488212"/>
            <a:ext cx="188192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*</a:t>
            </a:r>
            <a:r>
              <a:rPr lang="de-DE" sz="1000" dirty="0" err="1"/>
              <a:t>aga</a:t>
            </a:r>
            <a:r>
              <a:rPr lang="de-DE" sz="1000" dirty="0"/>
              <a:t> = </a:t>
            </a:r>
            <a:r>
              <a:rPr lang="de-DE" sz="1000" dirty="0" err="1"/>
              <a:t>artificially</a:t>
            </a:r>
            <a:r>
              <a:rPr lang="de-DE" sz="1000" dirty="0"/>
              <a:t> </a:t>
            </a:r>
            <a:r>
              <a:rPr lang="de-DE" sz="1000" dirty="0" err="1"/>
              <a:t>generated</a:t>
            </a:r>
            <a:r>
              <a:rPr lang="de-DE" sz="1000" dirty="0"/>
              <a:t> </a:t>
            </a:r>
            <a:r>
              <a:rPr lang="de-DE" sz="1000" dirty="0" err="1"/>
              <a:t>asset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2376460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A59118-D04F-AFB5-1089-6849A6B8A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456" y="165449"/>
            <a:ext cx="4472791" cy="1477926"/>
          </a:xfrm>
        </p:spPr>
        <p:txBody>
          <a:bodyPr/>
          <a:lstStyle/>
          <a:p>
            <a:r>
              <a:rPr lang="en-GB" sz="7200" dirty="0"/>
              <a:t>HOW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6292CB-B7E1-8AB9-BFB1-8F20CD37E5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470" y="1749679"/>
            <a:ext cx="11194074" cy="3906012"/>
          </a:xfrm>
        </p:spPr>
        <p:txBody>
          <a:bodyPr/>
          <a:lstStyle/>
          <a:p>
            <a:pPr marL="0" lvl="1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en-US" b="1" dirty="0">
                <a:solidFill>
                  <a:schemeClr val="accent1"/>
                </a:solidFill>
              </a:rPr>
              <a:t>How to design AI-generated assets to strengthen the BASF bran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The continuously changing AI environment and an </a:t>
            </a:r>
            <a:r>
              <a:rPr lang="en-US" b="1" dirty="0"/>
              <a:t>untransparent, complex legal situation</a:t>
            </a:r>
            <a:r>
              <a:rPr lang="en-US" dirty="0"/>
              <a:t>, carry a potential risk that the BASF brand is harmed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Two topics need to be evaluated regularly:</a:t>
            </a:r>
            <a:endParaRPr lang="en-GB" dirty="0"/>
          </a:p>
          <a:p>
            <a:pPr marL="813600" lvl="1" indent="-457200">
              <a:buFont typeface="+mj-lt"/>
              <a:buAutoNum type="arabicPeriod"/>
            </a:pPr>
            <a:r>
              <a:rPr lang="en-US" dirty="0"/>
              <a:t>As </a:t>
            </a:r>
            <a:r>
              <a:rPr lang="en-US" b="1" dirty="0"/>
              <a:t>intellectual property is ignored</a:t>
            </a:r>
            <a:r>
              <a:rPr lang="en-US" dirty="0"/>
              <a:t>, there are an increasing number of legal cases where AI providers are sued (e.g. OpenAI).</a:t>
            </a:r>
          </a:p>
          <a:p>
            <a:pPr marL="813600" lvl="1" indent="-457200">
              <a:buFont typeface="+mj-lt"/>
              <a:buAutoNum type="arabicPeriod"/>
            </a:pPr>
            <a:r>
              <a:rPr lang="en-US" dirty="0"/>
              <a:t>Communication </a:t>
            </a:r>
            <a:r>
              <a:rPr lang="en-US" b="1" dirty="0"/>
              <a:t>material generated by AI can’t be copyrighted at the moment, </a:t>
            </a:r>
            <a:r>
              <a:rPr lang="en-US" dirty="0"/>
              <a:t>offering third parties the possibility to use it without legal consequences. </a:t>
            </a:r>
          </a:p>
          <a:p>
            <a:pPr marL="0" indent="0">
              <a:buNone/>
            </a:pPr>
            <a:r>
              <a:rPr lang="en-US" dirty="0"/>
              <a:t>Due to the above mentioned cases, we recommend evaluating generated assets carefully</a:t>
            </a:r>
            <a:r>
              <a:rPr lang="en-GB" dirty="0"/>
              <a:t>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EA9A36-9522-517C-C84F-B0B1C7BC3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36652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A59118-D04F-AFB5-1089-6849A6B8A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456" y="165449"/>
            <a:ext cx="4472791" cy="1477926"/>
          </a:xfrm>
        </p:spPr>
        <p:txBody>
          <a:bodyPr/>
          <a:lstStyle/>
          <a:p>
            <a:r>
              <a:rPr lang="en-GB" sz="7200" dirty="0"/>
              <a:t>HOW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6292CB-B7E1-8AB9-BFB1-8F20CD37E5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470" y="1749679"/>
            <a:ext cx="11194074" cy="4219042"/>
          </a:xfrm>
        </p:spPr>
        <p:txBody>
          <a:bodyPr/>
          <a:lstStyle/>
          <a:p>
            <a:pPr marL="0" lvl="1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en-US" b="1" dirty="0">
                <a:solidFill>
                  <a:schemeClr val="accent1"/>
                </a:solidFill>
              </a:rPr>
              <a:t>How to design AI-generated assets in communication to strengthen the BASF brand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chemeClr val="accent1"/>
                </a:solidFill>
              </a:rPr>
              <a:t>1. Filing of assets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dirty="0"/>
              <a:t>In general, assets generated with/by AI must contain a </a:t>
            </a:r>
            <a:r>
              <a:rPr lang="en-US" b="1" dirty="0"/>
              <a:t>label in the file name </a:t>
            </a:r>
            <a:r>
              <a:rPr lang="en-US" dirty="0"/>
              <a:t>according to the following standard: _</a:t>
            </a:r>
            <a:r>
              <a:rPr lang="en-US" b="1" dirty="0"/>
              <a:t>aga-YY-MM-DD</a:t>
            </a:r>
            <a:r>
              <a:rPr lang="en-US" dirty="0"/>
              <a:t>.</a:t>
            </a:r>
          </a:p>
          <a:p>
            <a:pPr marL="0" lvl="1" indent="0">
              <a:spcBef>
                <a:spcPts val="120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chemeClr val="accent1"/>
                </a:solidFill>
              </a:rPr>
              <a:t>2. Usage of assets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dirty="0"/>
              <a:t>When embedding an AI-generated asset, </a:t>
            </a:r>
            <a:r>
              <a:rPr lang="en-US" b="1" dirty="0"/>
              <a:t>for the moment, its origin does not have to be indicated</a:t>
            </a:r>
            <a:r>
              <a:rPr lang="en-US" dirty="0"/>
              <a:t>.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b="1" dirty="0"/>
              <a:t>Exception: a visible labeling on the asset itself is necessary </a:t>
            </a:r>
            <a:r>
              <a:rPr lang="en-US" dirty="0"/>
              <a:t>if communication is</a:t>
            </a:r>
          </a:p>
          <a:p>
            <a:pPr marL="619200" lvl="2" indent="-342000">
              <a:buFont typeface="Wingdings" panose="05000000000000000000" pitchFamily="2" charset="2"/>
              <a:buChar char="§"/>
            </a:pPr>
            <a:r>
              <a:rPr lang="en-US" dirty="0"/>
              <a:t>published with the purpose of informing the public on matters of public interest or</a:t>
            </a:r>
          </a:p>
          <a:p>
            <a:pPr marL="619200" lvl="2" indent="-342000">
              <a:buFont typeface="Wingdings" panose="05000000000000000000" pitchFamily="2" charset="2"/>
              <a:buChar char="§"/>
            </a:pPr>
            <a:r>
              <a:rPr lang="en-US" dirty="0"/>
              <a:t>a deep fake (see BASF use cases </a:t>
            </a:r>
            <a:r>
              <a:rPr lang="de-DE" dirty="0">
                <a:hlinkClick r:id="rId3"/>
              </a:rPr>
              <a:t>AI in Brand Management</a:t>
            </a:r>
            <a:r>
              <a:rPr lang="en-US" dirty="0"/>
              <a:t>).</a:t>
            </a:r>
          </a:p>
          <a:p>
            <a:pPr marL="342000" lvl="2" indent="-3420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dirty="0"/>
              <a:t>The legal risk can be minimized by using visual content generated/manipulated by AI for internal purposes only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EA9A36-9522-517C-C84F-B0B1C7BC3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87686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1E141-EC70-3BBB-A4C1-3F75020E1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Licht enthält.&#10;&#10;Automatisch generierte Beschreibung mit mittlerer Zuverlässigkeit">
            <a:extLst>
              <a:ext uri="{FF2B5EF4-FFF2-40B4-BE49-F238E27FC236}">
                <a16:creationId xmlns:a16="http://schemas.microsoft.com/office/drawing/2014/main" id="{069305D8-28F7-81F1-8CC9-548E5160BF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4"/>
            <a:ext cx="12192000" cy="6857531"/>
          </a:xfrm>
          <a:prstGeom prst="rect">
            <a:avLst/>
          </a:prstGeom>
          <a:effectLst>
            <a:reflection endPos="65000" dist="50800" dir="5400000" sy="-100000" algn="bl" rotWithShape="0"/>
          </a:effectLst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F7954D4-A083-C086-9B70-F9011EC6E2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3661118-3D3D-AF1D-08E9-D201A2FE7A47}"/>
              </a:ext>
            </a:extLst>
          </p:cNvPr>
          <p:cNvGrpSpPr/>
          <p:nvPr/>
        </p:nvGrpSpPr>
        <p:grpSpPr>
          <a:xfrm>
            <a:off x="9601200" y="6091200"/>
            <a:ext cx="2592000" cy="540000"/>
            <a:chOff x="9597600" y="6091200"/>
            <a:chExt cx="2592000" cy="540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BB3C55A-891C-0301-0454-D4EC2A450BD0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9B00BF1B-22E0-5BF4-E8A6-B29B07A211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7AEE86C-4CB5-C45A-EFC5-BC7F49C49835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86799" y="680644"/>
            <a:ext cx="9609823" cy="335784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lang="en-us" sz="6600" dirty="0">
                <a:solidFill>
                  <a:srgbClr val="FFFFFF"/>
                </a:solidFill>
                <a:ea typeface="Arial"/>
                <a:cs typeface="Arial"/>
              </a:rPr>
              <a:t>Brand Portal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Artificial Intelligence in Brand Management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723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29271-80A0-4BC0-BA73-9DFE27DD82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3482E2-D2B2-570B-9326-2891516369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i="0" dirty="0">
                <a:effectLst/>
                <a:latin typeface="Helvetica Neue LT W05_45"/>
              </a:rPr>
              <a:t>Brand Portal</a:t>
            </a:r>
            <a:r>
              <a:rPr lang="de-DE" dirty="0">
                <a:latin typeface="Helvetica Neue LT W05_45"/>
              </a:rPr>
              <a:t>   I   </a:t>
            </a:r>
            <a:r>
              <a:rPr lang="de-DE" b="1" i="0" dirty="0" err="1">
                <a:effectLst/>
                <a:latin typeface="Helvetica Neue LT W05_45"/>
              </a:rPr>
              <a:t>Artificial</a:t>
            </a:r>
            <a:r>
              <a:rPr lang="de-DE" b="1" i="0" dirty="0">
                <a:effectLst/>
                <a:latin typeface="Helvetica Neue LT W05_45"/>
              </a:rPr>
              <a:t> </a:t>
            </a:r>
            <a:r>
              <a:rPr lang="de-DE" b="1" i="0" dirty="0" err="1">
                <a:effectLst/>
                <a:latin typeface="Helvetica Neue LT W05_45"/>
              </a:rPr>
              <a:t>Intelligence</a:t>
            </a:r>
            <a:r>
              <a:rPr lang="de-DE" b="1" i="0" dirty="0">
                <a:effectLst/>
                <a:latin typeface="Helvetica Neue LT W05_45"/>
              </a:rPr>
              <a:t> in Brand Management"</a:t>
            </a:r>
            <a:br>
              <a:rPr lang="de-DE" b="1" i="0" dirty="0">
                <a:effectLst/>
                <a:latin typeface="Helvetica Neue LT W05_45"/>
              </a:rPr>
            </a:br>
            <a:br>
              <a:rPr lang="en-GB" sz="2800" b="1" dirty="0"/>
            </a:b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C97AD8-9D55-38E4-E905-2DB6AD0BCF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82502" y="1285200"/>
            <a:ext cx="11753977" cy="499273"/>
          </a:xfrm>
        </p:spPr>
        <p:txBody>
          <a:bodyPr/>
          <a:lstStyle/>
          <a:p>
            <a:pPr marL="0" indent="0">
              <a:spcBef>
                <a:spcPts val="600"/>
              </a:spcBef>
              <a:spcAft>
                <a:spcPts val="600"/>
              </a:spcAft>
              <a:buSzPct val="70000"/>
              <a:buNone/>
            </a:pPr>
            <a:r>
              <a:rPr lang="en-US" b="1" dirty="0">
                <a:solidFill>
                  <a:schemeClr val="accent1"/>
                </a:solidFill>
              </a:rPr>
              <a:t>Link	</a:t>
            </a:r>
            <a:r>
              <a:rPr lang="de-DE" dirty="0">
                <a:hlinkClick r:id="rId3"/>
              </a:rPr>
              <a:t>AI in Brand Management</a:t>
            </a:r>
            <a:endParaRPr lang="en-GB" dirty="0"/>
          </a:p>
          <a:p>
            <a:pPr marL="0" indent="0">
              <a:spcBef>
                <a:spcPts val="600"/>
              </a:spcBef>
              <a:spcAft>
                <a:spcPts val="600"/>
              </a:spcAft>
              <a:buSzPct val="70000"/>
              <a:buNone/>
            </a:pPr>
            <a:endParaRPr lang="en-GB" sz="2000" dirty="0"/>
          </a:p>
          <a:p>
            <a:pPr marL="0" indent="0">
              <a:spcBef>
                <a:spcPts val="600"/>
              </a:spcBef>
              <a:spcAft>
                <a:spcPts val="600"/>
              </a:spcAft>
              <a:buSzPct val="70000"/>
              <a:buNone/>
            </a:pPr>
            <a:endParaRPr lang="en-GB" sz="20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985D72-C019-5B38-2279-E4C687AA7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B28C1BA-12F5-0950-94AE-1A12C124C8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502" y="1905265"/>
            <a:ext cx="10125230" cy="3990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2177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BASF_WIZARD_LOGO2015" val="1"/>
  <p:tag name="_BASF_WIZARD_VERSION" val="10.1.2"/>
  <p:tag name="_BASF_CONVERTED_TO_TAGS" val="1"/>
  <p:tag name="_TP_ICONS_VISIBLE" val="0"/>
  <p:tag name="_TP_ICONS_WIDTH" val="275"/>
  <p:tag name="_BASF_WIZARD_EMLOGOID" val="-1"/>
  <p:tag name="_BASF_WIZARD_GROUPID" val="0"/>
  <p:tag name="_TP_TITELFOLIE_VISIBLE" val="0"/>
  <p:tag name="_TP_TITELFOLIE_WIDTH" val="46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THIDDENCL" val="Leer"/>
  <p:tag name="NOTHIDDENDES" val="BASF_FolienDesign_V1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THIDDENCL" val="Leer"/>
  <p:tag name="NOTHIDDENDES" val="BASF_FolienDesign_V1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THIDDENCL" val="Leer"/>
  <p:tag name="NOTHIDDENDES" val="BASF_FolienDesign_V1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F9VLv8NvsjMFLb97d1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F9VLv8NvsjMFLb97d1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LSB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LB"/>
</p:tagLst>
</file>

<file path=ppt/theme/theme1.xml><?xml version="1.0" encoding="utf-8"?>
<a:theme xmlns:a="http://schemas.openxmlformats.org/drawingml/2006/main" name="BASF_TitelDesign_V10">
  <a:themeElements>
    <a:clrScheme name="06 BASF orange_colorsheme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4" id="{6E0CBF9C-E050-4A63-B48D-C2C93C8E5502}" vid="{652C98D8-7F51-4C3E-9E33-9922F407114B}"/>
    </a:ext>
  </a:extLst>
</a:theme>
</file>

<file path=ppt/theme/theme10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SF_FolienDesign_V10">
  <a:themeElements>
    <a:clrScheme name="Benutzerdefiniert 5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4" id="{6E0CBF9C-E050-4A63-B48D-C2C93C8E5502}" vid="{ECE6FDBF-A94C-4B61-A593-2254FE2EE3F9}"/>
    </a:ext>
  </a:extLst>
</a:theme>
</file>

<file path=ppt/theme/theme3.xml><?xml version="1.0" encoding="utf-8"?>
<a:theme xmlns:a="http://schemas.openxmlformats.org/drawingml/2006/main" name="BASF_FolienDesign_V10 (HIDDEN)">
  <a:themeElements>
    <a:clrScheme name="Benutzerdefiniert 5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4" id="{6E0CBF9C-E050-4A63-B48D-C2C93C8E5502}" vid="{ECE6FDBF-A94C-4B61-A593-2254FE2EE3F9}"/>
    </a:ext>
  </a:extLst>
</a:theme>
</file>

<file path=ppt/theme/theme4.xml><?xml version="1.0" encoding="utf-8"?>
<a:theme xmlns:a="http://schemas.openxmlformats.org/drawingml/2006/main" name="BASF_Finale_V10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AS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4" id="{6E0CBF9C-E050-4A63-B48D-C2C93C8E5502}" vid="{35BD4075-9BD5-4DDE-990B-E89C102D2376}"/>
    </a:ext>
  </a:extLst>
</a:theme>
</file>

<file path=ppt/theme/theme5.xml><?xml version="1.0" encoding="utf-8"?>
<a:theme xmlns:a="http://schemas.openxmlformats.org/drawingml/2006/main" name="6_BASF_Folien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82DFE96A-3252-4AF9-AB49-E5554BAF447E}"/>
    </a:ext>
  </a:extLst>
</a:theme>
</file>

<file path=ppt/theme/theme6.xml><?xml version="1.0" encoding="utf-8"?>
<a:theme xmlns:a="http://schemas.openxmlformats.org/drawingml/2006/main" name="1_BASF_FolienDesign_V10">
  <a:themeElements>
    <a:clrScheme name="Benutzerdefiniert 5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4" id="{6E0CBF9C-E050-4A63-B48D-C2C93C8E5502}" vid="{ECE6FDBF-A94C-4B61-A593-2254FE2EE3F9}"/>
    </a:ext>
  </a:extLst>
</a:theme>
</file>

<file path=ppt/theme/theme7.xml><?xml version="1.0" encoding="utf-8"?>
<a:theme xmlns:a="http://schemas.openxmlformats.org/drawingml/2006/main" name="6_BASF_FolienDesign_V10 (HIDDEN)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82DFE96A-3252-4AF9-AB49-E5554BAF447E}"/>
    </a:ext>
  </a:extLst>
</a:theme>
</file>

<file path=ppt/theme/theme8.xml><?xml version="1.0" encoding="utf-8"?>
<a:theme xmlns:a="http://schemas.openxmlformats.org/drawingml/2006/main" name="1_BASF_FolienDesign_V10 (HIDDEN)">
  <a:themeElements>
    <a:clrScheme name="Benutzerdefiniert 5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4" id="{6E0CBF9C-E050-4A63-B48D-C2C93C8E5502}" vid="{ECE6FDBF-A94C-4B61-A593-2254FE2EE3F9}"/>
    </a:ext>
  </a:extLst>
</a:theme>
</file>

<file path=ppt/theme/theme9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B52487706FC2F40B1B8D9F01193ECCA" ma:contentTypeVersion="14" ma:contentTypeDescription="Create a new document." ma:contentTypeScope="" ma:versionID="6dd05abb6b2ff4ba68fe4ba03e4feaf9">
  <xsd:schema xmlns:xsd="http://www.w3.org/2001/XMLSchema" xmlns:xs="http://www.w3.org/2001/XMLSchema" xmlns:p="http://schemas.microsoft.com/office/2006/metadata/properties" xmlns:ns2="3e7acd12-bce9-4a23-811a-3b9117394299" xmlns:ns3="a40b0e99-c493-42e3-a21e-0ef879d17dd2" targetNamespace="http://schemas.microsoft.com/office/2006/metadata/properties" ma:root="true" ma:fieldsID="2e36ef03fb938f40dc4cd23ce61e66dd" ns2:_="" ns3:_="">
    <xsd:import namespace="3e7acd12-bce9-4a23-811a-3b9117394299"/>
    <xsd:import namespace="a40b0e99-c493-42e3-a21e-0ef879d17dd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7acd12-bce9-4a23-811a-3b91173942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04f2cd92-8d93-4e4c-83d3-86703d9155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0b0e99-c493-42e3-a21e-0ef879d17dd2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bdd22421-1818-4090-809e-f3f364a5e81f}" ma:internalName="TaxCatchAll" ma:showField="CatchAllData" ma:web="a40b0e99-c493-42e3-a21e-0ef879d17dd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40b0e99-c493-42e3-a21e-0ef879d17dd2" xsi:nil="true"/>
    <lcf76f155ced4ddcb4097134ff3c332f xmlns="3e7acd12-bce9-4a23-811a-3b911739429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E54715C-3BDE-48DB-A815-87EEA6CFC47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24270F-6B97-4FC7-86E9-6F9EF1063483}"/>
</file>

<file path=customXml/itemProps3.xml><?xml version="1.0" encoding="utf-8"?>
<ds:datastoreItem xmlns:ds="http://schemas.openxmlformats.org/officeDocument/2006/customXml" ds:itemID="{78C3E260-E799-43B3-8383-B39FC4592309}"/>
</file>

<file path=docMetadata/LabelInfo.xml><?xml version="1.0" encoding="utf-8"?>
<clbl:labelList xmlns:clbl="http://schemas.microsoft.com/office/2020/mipLabelMetadata">
  <clbl:label id="{06530cf4-8573-4c29-a912-bbcdac835909}" enabled="1" method="Standard" siteId="{ecaa386b-c8df-4ce0-ad01-740cbdb5ba5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mp239B</Template>
  <TotalTime>0</TotalTime>
  <Words>1091</Words>
  <Application>Microsoft Office PowerPoint</Application>
  <PresentationFormat>Breitbild</PresentationFormat>
  <Paragraphs>115</Paragraphs>
  <Slides>13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8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8" baseType="lpstr">
      <vt:lpstr>Arial</vt:lpstr>
      <vt:lpstr>Calibri</vt:lpstr>
      <vt:lpstr>Helvetica Neue LT W05_45</vt:lpstr>
      <vt:lpstr>Times New Roman</vt:lpstr>
      <vt:lpstr>Wingdings</vt:lpstr>
      <vt:lpstr>Wingdings 3</vt:lpstr>
      <vt:lpstr>BASF_TitelDesign_V10</vt:lpstr>
      <vt:lpstr>BASF_FolienDesign_V10</vt:lpstr>
      <vt:lpstr>BASF_FolienDesign_V10 (HIDDEN)</vt:lpstr>
      <vt:lpstr>BASF_Finale_V10</vt:lpstr>
      <vt:lpstr>6_BASF_FolienDesign_V10</vt:lpstr>
      <vt:lpstr>1_BASF_FolienDesign_V10</vt:lpstr>
      <vt:lpstr>6_BASF_FolienDesign_V10 (HIDDEN)</vt:lpstr>
      <vt:lpstr>1_BASF_FolienDesign_V10 (HIDDEN)</vt:lpstr>
      <vt:lpstr>think-cell Folie</vt:lpstr>
      <vt:lpstr>PowerPoint-Präsentation</vt:lpstr>
      <vt:lpstr>PowerPoint-Präsentation</vt:lpstr>
      <vt:lpstr>WHY</vt:lpstr>
      <vt:lpstr>WHAT</vt:lpstr>
      <vt:lpstr>WHAT</vt:lpstr>
      <vt:lpstr>HOW</vt:lpstr>
      <vt:lpstr>HOW</vt:lpstr>
      <vt:lpstr>PowerPoint-Präsentation</vt:lpstr>
      <vt:lpstr>Brand Portal   I   Artificial Intelligence in Brand Management"  </vt:lpstr>
      <vt:lpstr>Brand Portal  I  Summary BASF Use Cases </vt:lpstr>
      <vt:lpstr>PowerPoint-Präsentation</vt:lpstr>
      <vt:lpstr>Take-aways for Creators of Communication Assets </vt:lpstr>
      <vt:lpstr>PowerPoint-Präsentation</vt:lpstr>
    </vt:vector>
  </TitlesOfParts>
  <Company>BAS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asmine.phan@basf.com</dc:creator>
  <cp:keywords>20926-03</cp:keywords>
  <cp:lastModifiedBy>jasmine.phan@basf.com</cp:lastModifiedBy>
  <cp:revision>114</cp:revision>
  <cp:lastPrinted>2025-04-01T14:17:44Z</cp:lastPrinted>
  <dcterms:created xsi:type="dcterms:W3CDTF">2023-09-20T12:27:02Z</dcterms:created>
  <dcterms:modified xsi:type="dcterms:W3CDTF">2025-04-14T11:1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Wizard_PP">
    <vt:bool>true</vt:bool>
  </property>
  <property fmtid="{D5CDD505-2E9C-101B-9397-08002B2CF9AE}" pid="3" name="_BASF_Wizard_Version">
    <vt:lpwstr>10.1.2</vt:lpwstr>
  </property>
  <property fmtid="{D5CDD505-2E9C-101B-9397-08002B2CF9AE}" pid="4" name="Classification_to_AIP">
    <vt:i4>0</vt:i4>
  </property>
  <property fmtid="{D5CDD505-2E9C-101B-9397-08002B2CF9AE}" pid="5" name="_BASF_Wizard_Logo2015">
    <vt:lpwstr>1</vt:lpwstr>
  </property>
  <property fmtid="{D5CDD505-2E9C-101B-9397-08002B2CF9AE}" pid="6" name="MSIP_Label_06530cf4-8573-4c29-a912-bbcdac835909_Enabled">
    <vt:lpwstr>true</vt:lpwstr>
  </property>
  <property fmtid="{D5CDD505-2E9C-101B-9397-08002B2CF9AE}" pid="7" name="MSIP_Label_06530cf4-8573-4c29-a912-bbcdac835909_SetDate">
    <vt:lpwstr>2023-11-13T12:47:44Z</vt:lpwstr>
  </property>
  <property fmtid="{D5CDD505-2E9C-101B-9397-08002B2CF9AE}" pid="8" name="MSIP_Label_06530cf4-8573-4c29-a912-bbcdac835909_Method">
    <vt:lpwstr>Standard</vt:lpwstr>
  </property>
  <property fmtid="{D5CDD505-2E9C-101B-9397-08002B2CF9AE}" pid="9" name="MSIP_Label_06530cf4-8573-4c29-a912-bbcdac835909_Name">
    <vt:lpwstr>06530cf4-8573-4c29-a912-bbcdac835909</vt:lpwstr>
  </property>
  <property fmtid="{D5CDD505-2E9C-101B-9397-08002B2CF9AE}" pid="10" name="MSIP_Label_06530cf4-8573-4c29-a912-bbcdac835909_SiteId">
    <vt:lpwstr>ecaa386b-c8df-4ce0-ad01-740cbdb5ba55</vt:lpwstr>
  </property>
  <property fmtid="{D5CDD505-2E9C-101B-9397-08002B2CF9AE}" pid="11" name="MSIP_Label_06530cf4-8573-4c29-a912-bbcdac835909_ActionId">
    <vt:lpwstr>bca7ef71-2e5b-474b-8eec-7978b2f151fd</vt:lpwstr>
  </property>
  <property fmtid="{D5CDD505-2E9C-101B-9397-08002B2CF9AE}" pid="12" name="MSIP_Label_06530cf4-8573-4c29-a912-bbcdac835909_ContentBits">
    <vt:lpwstr>2</vt:lpwstr>
  </property>
  <property fmtid="{D5CDD505-2E9C-101B-9397-08002B2CF9AE}" pid="13" name="ContentTypeId">
    <vt:lpwstr>0x010100FB52487706FC2F40B1B8D9F01193ECCA</vt:lpwstr>
  </property>
</Properties>
</file>